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3"/>
    <p:sldMasterId id="2147483669" r:id="rId4"/>
  </p:sldMasterIdLst>
  <p:notesMasterIdLst>
    <p:notesMasterId r:id="rId6"/>
  </p:notesMasterIdLst>
  <p:sldIdLst>
    <p:sldId id="2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48" y="1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3C0D81-5075-4EC4-95F5-24F7FF8439AA}" type="datetimeFigureOut">
              <a:rPr lang="en-CA" smtClean="0"/>
              <a:t>2024-07-17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6598D-0532-4EF6-AC84-C4C5DE56640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874235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C3A632B-FBDE-46D4-BF6F-6D14421E63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8368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2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3.xml"/><Relationship Id="rId4" Type="http://schemas.openxmlformats.org/officeDocument/2006/relationships/image" Target="../media/image4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346F1E-E3BB-44EA-B91B-FD281D20DD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233C0181-584E-4331-83E5-AEF87EBD9BA3}"/>
              </a:ext>
            </a:extLst>
          </p:cNvPr>
          <p:cNvSpPr/>
          <p:nvPr userDrawn="1"/>
        </p:nvSpPr>
        <p:spPr>
          <a:xfrm>
            <a:off x="-1" y="3242"/>
            <a:ext cx="12192000" cy="6854758"/>
          </a:xfrm>
          <a:custGeom>
            <a:avLst/>
            <a:gdLst>
              <a:gd name="connsiteX0" fmla="*/ 2 w 12192000"/>
              <a:gd name="connsiteY0" fmla="*/ 5062244 h 6854758"/>
              <a:gd name="connsiteX1" fmla="*/ 2 w 12192000"/>
              <a:gd name="connsiteY1" fmla="*/ 6851516 h 6854758"/>
              <a:gd name="connsiteX2" fmla="*/ 435431 w 12192000"/>
              <a:gd name="connsiteY2" fmla="*/ 6851516 h 6854758"/>
              <a:gd name="connsiteX3" fmla="*/ 435431 w 12192000"/>
              <a:gd name="connsiteY3" fmla="*/ 5062244 h 6854758"/>
              <a:gd name="connsiteX4" fmla="*/ 1085008 w 12192000"/>
              <a:gd name="connsiteY4" fmla="*/ 4631863 h 6854758"/>
              <a:gd name="connsiteX5" fmla="*/ 1085008 w 12192000"/>
              <a:gd name="connsiteY5" fmla="*/ 6421135 h 6854758"/>
              <a:gd name="connsiteX6" fmla="*/ 1520437 w 12192000"/>
              <a:gd name="connsiteY6" fmla="*/ 6421135 h 6854758"/>
              <a:gd name="connsiteX7" fmla="*/ 1520437 w 12192000"/>
              <a:gd name="connsiteY7" fmla="*/ 4631863 h 6854758"/>
              <a:gd name="connsiteX8" fmla="*/ 3255020 w 12192000"/>
              <a:gd name="connsiteY8" fmla="*/ 4051291 h 6854758"/>
              <a:gd name="connsiteX9" fmla="*/ 3255020 w 12192000"/>
              <a:gd name="connsiteY9" fmla="*/ 5840563 h 6854758"/>
              <a:gd name="connsiteX10" fmla="*/ 3690448 w 12192000"/>
              <a:gd name="connsiteY10" fmla="*/ 5840563 h 6854758"/>
              <a:gd name="connsiteX11" fmla="*/ 3690448 w 12192000"/>
              <a:gd name="connsiteY11" fmla="*/ 4051291 h 6854758"/>
              <a:gd name="connsiteX12" fmla="*/ 7268557 w 12192000"/>
              <a:gd name="connsiteY12" fmla="*/ 3860455 h 6854758"/>
              <a:gd name="connsiteX13" fmla="*/ 6608158 w 12192000"/>
              <a:gd name="connsiteY13" fmla="*/ 4520854 h 6854758"/>
              <a:gd name="connsiteX14" fmla="*/ 7268557 w 12192000"/>
              <a:gd name="connsiteY14" fmla="*/ 5181253 h 6854758"/>
              <a:gd name="connsiteX15" fmla="*/ 7928956 w 12192000"/>
              <a:gd name="connsiteY15" fmla="*/ 4520854 h 6854758"/>
              <a:gd name="connsiteX16" fmla="*/ 7268557 w 12192000"/>
              <a:gd name="connsiteY16" fmla="*/ 3860455 h 6854758"/>
              <a:gd name="connsiteX17" fmla="*/ 542505 w 12192000"/>
              <a:gd name="connsiteY17" fmla="*/ 3660502 h 6854758"/>
              <a:gd name="connsiteX18" fmla="*/ 542505 w 12192000"/>
              <a:gd name="connsiteY18" fmla="*/ 5449774 h 6854758"/>
              <a:gd name="connsiteX19" fmla="*/ 977934 w 12192000"/>
              <a:gd name="connsiteY19" fmla="*/ 5449774 h 6854758"/>
              <a:gd name="connsiteX20" fmla="*/ 977934 w 12192000"/>
              <a:gd name="connsiteY20" fmla="*/ 3660502 h 6854758"/>
              <a:gd name="connsiteX21" fmla="*/ 3797522 w 12192000"/>
              <a:gd name="connsiteY21" fmla="*/ 3626218 h 6854758"/>
              <a:gd name="connsiteX22" fmla="*/ 3797522 w 12192000"/>
              <a:gd name="connsiteY22" fmla="*/ 5415490 h 6854758"/>
              <a:gd name="connsiteX23" fmla="*/ 4232950 w 12192000"/>
              <a:gd name="connsiteY23" fmla="*/ 5415490 h 6854758"/>
              <a:gd name="connsiteX24" fmla="*/ 4232950 w 12192000"/>
              <a:gd name="connsiteY24" fmla="*/ 3626218 h 6854758"/>
              <a:gd name="connsiteX25" fmla="*/ 2170014 w 12192000"/>
              <a:gd name="connsiteY25" fmla="*/ 3168128 h 6854758"/>
              <a:gd name="connsiteX26" fmla="*/ 2170014 w 12192000"/>
              <a:gd name="connsiteY26" fmla="*/ 4957399 h 6854758"/>
              <a:gd name="connsiteX27" fmla="*/ 2605443 w 12192000"/>
              <a:gd name="connsiteY27" fmla="*/ 4957399 h 6854758"/>
              <a:gd name="connsiteX28" fmla="*/ 2605443 w 12192000"/>
              <a:gd name="connsiteY28" fmla="*/ 3168128 h 6854758"/>
              <a:gd name="connsiteX29" fmla="*/ 9492719 w 12192000"/>
              <a:gd name="connsiteY29" fmla="*/ 3168128 h 6854758"/>
              <a:gd name="connsiteX30" fmla="*/ 8643634 w 12192000"/>
              <a:gd name="connsiteY30" fmla="*/ 4017212 h 6854758"/>
              <a:gd name="connsiteX31" fmla="*/ 9492719 w 12192000"/>
              <a:gd name="connsiteY31" fmla="*/ 4866297 h 6854758"/>
              <a:gd name="connsiteX32" fmla="*/ 10341804 w 12192000"/>
              <a:gd name="connsiteY32" fmla="*/ 4017212 h 6854758"/>
              <a:gd name="connsiteX33" fmla="*/ 9492719 w 12192000"/>
              <a:gd name="connsiteY33" fmla="*/ 3168128 h 6854758"/>
              <a:gd name="connsiteX34" fmla="*/ 1627511 w 12192000"/>
              <a:gd name="connsiteY34" fmla="*/ 2842592 h 6854758"/>
              <a:gd name="connsiteX35" fmla="*/ 1627511 w 12192000"/>
              <a:gd name="connsiteY35" fmla="*/ 4631863 h 6854758"/>
              <a:gd name="connsiteX36" fmla="*/ 2062940 w 12192000"/>
              <a:gd name="connsiteY36" fmla="*/ 4631863 h 6854758"/>
              <a:gd name="connsiteX37" fmla="*/ 2062940 w 12192000"/>
              <a:gd name="connsiteY37" fmla="*/ 2842592 h 6854758"/>
              <a:gd name="connsiteX38" fmla="*/ 4340024 w 12192000"/>
              <a:gd name="connsiteY38" fmla="*/ 2731582 h 6854758"/>
              <a:gd name="connsiteX39" fmla="*/ 4340024 w 12192000"/>
              <a:gd name="connsiteY39" fmla="*/ 4520854 h 6854758"/>
              <a:gd name="connsiteX40" fmla="*/ 4775453 w 12192000"/>
              <a:gd name="connsiteY40" fmla="*/ 4520854 h 6854758"/>
              <a:gd name="connsiteX41" fmla="*/ 4775453 w 12192000"/>
              <a:gd name="connsiteY41" fmla="*/ 2731582 h 6854758"/>
              <a:gd name="connsiteX42" fmla="*/ 11299448 w 12192000"/>
              <a:gd name="connsiteY42" fmla="*/ 2319042 h 6854758"/>
              <a:gd name="connsiteX43" fmla="*/ 10450363 w 12192000"/>
              <a:gd name="connsiteY43" fmla="*/ 3168128 h 6854758"/>
              <a:gd name="connsiteX44" fmla="*/ 11299448 w 12192000"/>
              <a:gd name="connsiteY44" fmla="*/ 4017212 h 6854758"/>
              <a:gd name="connsiteX45" fmla="*/ 12148533 w 12192000"/>
              <a:gd name="connsiteY45" fmla="*/ 3168128 h 6854758"/>
              <a:gd name="connsiteX46" fmla="*/ 11299448 w 12192000"/>
              <a:gd name="connsiteY46" fmla="*/ 2319042 h 6854758"/>
              <a:gd name="connsiteX47" fmla="*/ 2712517 w 12192000"/>
              <a:gd name="connsiteY47" fmla="*/ 2262020 h 6854758"/>
              <a:gd name="connsiteX48" fmla="*/ 2712517 w 12192000"/>
              <a:gd name="connsiteY48" fmla="*/ 4051291 h 6854758"/>
              <a:gd name="connsiteX49" fmla="*/ 3147946 w 12192000"/>
              <a:gd name="connsiteY49" fmla="*/ 4051291 h 6854758"/>
              <a:gd name="connsiteX50" fmla="*/ 3147946 w 12192000"/>
              <a:gd name="connsiteY50" fmla="*/ 2262020 h 6854758"/>
              <a:gd name="connsiteX51" fmla="*/ 6204933 w 12192000"/>
              <a:gd name="connsiteY51" fmla="*/ 2231958 h 6854758"/>
              <a:gd name="connsiteX52" fmla="*/ 5544534 w 12192000"/>
              <a:gd name="connsiteY52" fmla="*/ 2892356 h 6854758"/>
              <a:gd name="connsiteX53" fmla="*/ 6204933 w 12192000"/>
              <a:gd name="connsiteY53" fmla="*/ 3552755 h 6854758"/>
              <a:gd name="connsiteX54" fmla="*/ 6865332 w 12192000"/>
              <a:gd name="connsiteY54" fmla="*/ 2892356 h 6854758"/>
              <a:gd name="connsiteX55" fmla="*/ 6204933 w 12192000"/>
              <a:gd name="connsiteY55" fmla="*/ 2231958 h 6854758"/>
              <a:gd name="connsiteX56" fmla="*/ 7874677 w 12192000"/>
              <a:gd name="connsiteY56" fmla="*/ 2112216 h 6854758"/>
              <a:gd name="connsiteX57" fmla="*/ 7214278 w 12192000"/>
              <a:gd name="connsiteY57" fmla="*/ 2772615 h 6854758"/>
              <a:gd name="connsiteX58" fmla="*/ 7874677 w 12192000"/>
              <a:gd name="connsiteY58" fmla="*/ 3433013 h 6854758"/>
              <a:gd name="connsiteX59" fmla="*/ 8535076 w 12192000"/>
              <a:gd name="connsiteY59" fmla="*/ 2772615 h 6854758"/>
              <a:gd name="connsiteX60" fmla="*/ 7874677 w 12192000"/>
              <a:gd name="connsiteY60" fmla="*/ 2112216 h 6854758"/>
              <a:gd name="connsiteX61" fmla="*/ 9514453 w 12192000"/>
              <a:gd name="connsiteY61" fmla="*/ 1698171 h 6854758"/>
              <a:gd name="connsiteX62" fmla="*/ 8941214 w 12192000"/>
              <a:gd name="connsiteY62" fmla="*/ 2271410 h 6854758"/>
              <a:gd name="connsiteX63" fmla="*/ 9514453 w 12192000"/>
              <a:gd name="connsiteY63" fmla="*/ 2844649 h 6854758"/>
              <a:gd name="connsiteX64" fmla="*/ 10087692 w 12192000"/>
              <a:gd name="connsiteY64" fmla="*/ 2271410 h 6854758"/>
              <a:gd name="connsiteX65" fmla="*/ 9514453 w 12192000"/>
              <a:gd name="connsiteY65" fmla="*/ 1698171 h 6854758"/>
              <a:gd name="connsiteX66" fmla="*/ 4882532 w 12192000"/>
              <a:gd name="connsiteY66" fmla="*/ 1424407 h 6854758"/>
              <a:gd name="connsiteX67" fmla="*/ 4882532 w 12192000"/>
              <a:gd name="connsiteY67" fmla="*/ 3213679 h 6854758"/>
              <a:gd name="connsiteX68" fmla="*/ 5317961 w 12192000"/>
              <a:gd name="connsiteY68" fmla="*/ 3213679 h 6854758"/>
              <a:gd name="connsiteX69" fmla="*/ 5317961 w 12192000"/>
              <a:gd name="connsiteY69" fmla="*/ 1424407 h 6854758"/>
              <a:gd name="connsiteX70" fmla="*/ 8164516 w 12192000"/>
              <a:gd name="connsiteY70" fmla="*/ 427443 h 6854758"/>
              <a:gd name="connsiteX71" fmla="*/ 7504117 w 12192000"/>
              <a:gd name="connsiteY71" fmla="*/ 1087842 h 6854758"/>
              <a:gd name="connsiteX72" fmla="*/ 8164516 w 12192000"/>
              <a:gd name="connsiteY72" fmla="*/ 1748241 h 6854758"/>
              <a:gd name="connsiteX73" fmla="*/ 8824915 w 12192000"/>
              <a:gd name="connsiteY73" fmla="*/ 1087842 h 6854758"/>
              <a:gd name="connsiteX74" fmla="*/ 8164516 w 12192000"/>
              <a:gd name="connsiteY74" fmla="*/ 427443 h 6854758"/>
              <a:gd name="connsiteX75" fmla="*/ 6103333 w 12192000"/>
              <a:gd name="connsiteY75" fmla="*/ 25787 h 6854758"/>
              <a:gd name="connsiteX76" fmla="*/ 5254249 w 12192000"/>
              <a:gd name="connsiteY76" fmla="*/ 874872 h 6854758"/>
              <a:gd name="connsiteX77" fmla="*/ 6103333 w 12192000"/>
              <a:gd name="connsiteY77" fmla="*/ 1723957 h 6854758"/>
              <a:gd name="connsiteX78" fmla="*/ 6952418 w 12192000"/>
              <a:gd name="connsiteY78" fmla="*/ 874872 h 6854758"/>
              <a:gd name="connsiteX79" fmla="*/ 6103333 w 12192000"/>
              <a:gd name="connsiteY79" fmla="*/ 25787 h 6854758"/>
              <a:gd name="connsiteX80" fmla="*/ 0 w 12192000"/>
              <a:gd name="connsiteY80" fmla="*/ 0 h 6854758"/>
              <a:gd name="connsiteX81" fmla="*/ 12192000 w 12192000"/>
              <a:gd name="connsiteY81" fmla="*/ 0 h 6854758"/>
              <a:gd name="connsiteX82" fmla="*/ 12192000 w 12192000"/>
              <a:gd name="connsiteY82" fmla="*/ 849086 h 6854758"/>
              <a:gd name="connsiteX83" fmla="*/ 11342915 w 12192000"/>
              <a:gd name="connsiteY83" fmla="*/ 1 h 6854758"/>
              <a:gd name="connsiteX84" fmla="*/ 10493830 w 12192000"/>
              <a:gd name="connsiteY84" fmla="*/ 849086 h 6854758"/>
              <a:gd name="connsiteX85" fmla="*/ 11342915 w 12192000"/>
              <a:gd name="connsiteY85" fmla="*/ 1698171 h 6854758"/>
              <a:gd name="connsiteX86" fmla="*/ 12192000 w 12192000"/>
              <a:gd name="connsiteY86" fmla="*/ 849086 h 6854758"/>
              <a:gd name="connsiteX87" fmla="*/ 12192000 w 12192000"/>
              <a:gd name="connsiteY87" fmla="*/ 6854758 h 6854758"/>
              <a:gd name="connsiteX88" fmla="*/ 0 w 12192000"/>
              <a:gd name="connsiteY88" fmla="*/ 6854758 h 685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2192000" h="6854758">
                <a:moveTo>
                  <a:pt x="2" y="5062244"/>
                </a:moveTo>
                <a:lnTo>
                  <a:pt x="2" y="6851516"/>
                </a:lnTo>
                <a:lnTo>
                  <a:pt x="435431" y="6851516"/>
                </a:lnTo>
                <a:lnTo>
                  <a:pt x="435431" y="5062244"/>
                </a:lnTo>
                <a:close/>
                <a:moveTo>
                  <a:pt x="1085008" y="4631863"/>
                </a:moveTo>
                <a:lnTo>
                  <a:pt x="1085008" y="6421135"/>
                </a:lnTo>
                <a:lnTo>
                  <a:pt x="1520437" y="6421135"/>
                </a:lnTo>
                <a:lnTo>
                  <a:pt x="1520437" y="4631863"/>
                </a:lnTo>
                <a:close/>
                <a:moveTo>
                  <a:pt x="3255020" y="4051291"/>
                </a:moveTo>
                <a:lnTo>
                  <a:pt x="3255020" y="5840563"/>
                </a:lnTo>
                <a:lnTo>
                  <a:pt x="3690448" y="5840563"/>
                </a:lnTo>
                <a:lnTo>
                  <a:pt x="3690448" y="4051291"/>
                </a:lnTo>
                <a:close/>
                <a:moveTo>
                  <a:pt x="7268557" y="3860455"/>
                </a:moveTo>
                <a:cubicBezTo>
                  <a:pt x="6903829" y="3860455"/>
                  <a:pt x="6608158" y="4156126"/>
                  <a:pt x="6608158" y="4520854"/>
                </a:cubicBezTo>
                <a:cubicBezTo>
                  <a:pt x="6608158" y="4885582"/>
                  <a:pt x="6903829" y="5181253"/>
                  <a:pt x="7268557" y="5181253"/>
                </a:cubicBezTo>
                <a:cubicBezTo>
                  <a:pt x="7633285" y="5181253"/>
                  <a:pt x="7928956" y="4885582"/>
                  <a:pt x="7928956" y="4520854"/>
                </a:cubicBezTo>
                <a:cubicBezTo>
                  <a:pt x="7928956" y="4156126"/>
                  <a:pt x="7633285" y="3860455"/>
                  <a:pt x="7268557" y="3860455"/>
                </a:cubicBezTo>
                <a:close/>
                <a:moveTo>
                  <a:pt x="542505" y="3660502"/>
                </a:moveTo>
                <a:lnTo>
                  <a:pt x="542505" y="5449774"/>
                </a:lnTo>
                <a:lnTo>
                  <a:pt x="977934" y="5449774"/>
                </a:lnTo>
                <a:lnTo>
                  <a:pt x="977934" y="3660502"/>
                </a:lnTo>
                <a:close/>
                <a:moveTo>
                  <a:pt x="3797522" y="3626218"/>
                </a:moveTo>
                <a:lnTo>
                  <a:pt x="3797522" y="5415490"/>
                </a:lnTo>
                <a:lnTo>
                  <a:pt x="4232950" y="5415490"/>
                </a:lnTo>
                <a:lnTo>
                  <a:pt x="4232950" y="3626218"/>
                </a:lnTo>
                <a:close/>
                <a:moveTo>
                  <a:pt x="2170014" y="3168128"/>
                </a:moveTo>
                <a:lnTo>
                  <a:pt x="2170014" y="4957399"/>
                </a:lnTo>
                <a:lnTo>
                  <a:pt x="2605443" y="4957399"/>
                </a:lnTo>
                <a:lnTo>
                  <a:pt x="2605443" y="3168128"/>
                </a:lnTo>
                <a:close/>
                <a:moveTo>
                  <a:pt x="9492719" y="3168128"/>
                </a:moveTo>
                <a:cubicBezTo>
                  <a:pt x="9023782" y="3168128"/>
                  <a:pt x="8643634" y="3548275"/>
                  <a:pt x="8643634" y="4017212"/>
                </a:cubicBezTo>
                <a:cubicBezTo>
                  <a:pt x="8643634" y="4486149"/>
                  <a:pt x="9023782" y="4866297"/>
                  <a:pt x="9492719" y="4866297"/>
                </a:cubicBezTo>
                <a:cubicBezTo>
                  <a:pt x="9961656" y="4866297"/>
                  <a:pt x="10341804" y="4486149"/>
                  <a:pt x="10341804" y="4017212"/>
                </a:cubicBezTo>
                <a:cubicBezTo>
                  <a:pt x="10341804" y="3548275"/>
                  <a:pt x="9961656" y="3168128"/>
                  <a:pt x="9492719" y="3168128"/>
                </a:cubicBezTo>
                <a:close/>
                <a:moveTo>
                  <a:pt x="1627511" y="2842592"/>
                </a:moveTo>
                <a:lnTo>
                  <a:pt x="1627511" y="4631863"/>
                </a:lnTo>
                <a:lnTo>
                  <a:pt x="2062940" y="4631863"/>
                </a:lnTo>
                <a:lnTo>
                  <a:pt x="2062940" y="2842592"/>
                </a:lnTo>
                <a:close/>
                <a:moveTo>
                  <a:pt x="4340024" y="2731582"/>
                </a:moveTo>
                <a:lnTo>
                  <a:pt x="4340024" y="4520854"/>
                </a:lnTo>
                <a:lnTo>
                  <a:pt x="4775453" y="4520854"/>
                </a:lnTo>
                <a:lnTo>
                  <a:pt x="4775453" y="2731582"/>
                </a:lnTo>
                <a:close/>
                <a:moveTo>
                  <a:pt x="11299448" y="2319042"/>
                </a:moveTo>
                <a:cubicBezTo>
                  <a:pt x="10830511" y="2319042"/>
                  <a:pt x="10450363" y="2699191"/>
                  <a:pt x="10450363" y="3168128"/>
                </a:cubicBezTo>
                <a:cubicBezTo>
                  <a:pt x="10450363" y="3637064"/>
                  <a:pt x="10830511" y="4017212"/>
                  <a:pt x="11299448" y="4017212"/>
                </a:cubicBezTo>
                <a:cubicBezTo>
                  <a:pt x="11768385" y="4017212"/>
                  <a:pt x="12148533" y="3637064"/>
                  <a:pt x="12148533" y="3168128"/>
                </a:cubicBezTo>
                <a:cubicBezTo>
                  <a:pt x="12148533" y="2699191"/>
                  <a:pt x="11768385" y="2319042"/>
                  <a:pt x="11299448" y="2319042"/>
                </a:cubicBezTo>
                <a:close/>
                <a:moveTo>
                  <a:pt x="2712517" y="2262020"/>
                </a:moveTo>
                <a:lnTo>
                  <a:pt x="2712517" y="4051291"/>
                </a:lnTo>
                <a:lnTo>
                  <a:pt x="3147946" y="4051291"/>
                </a:lnTo>
                <a:lnTo>
                  <a:pt x="3147946" y="2262020"/>
                </a:lnTo>
                <a:close/>
                <a:moveTo>
                  <a:pt x="6204933" y="2231958"/>
                </a:moveTo>
                <a:cubicBezTo>
                  <a:pt x="5840205" y="2231958"/>
                  <a:pt x="5544534" y="2527629"/>
                  <a:pt x="5544534" y="2892356"/>
                </a:cubicBezTo>
                <a:cubicBezTo>
                  <a:pt x="5544534" y="3257084"/>
                  <a:pt x="5840205" y="3552755"/>
                  <a:pt x="6204933" y="3552755"/>
                </a:cubicBezTo>
                <a:cubicBezTo>
                  <a:pt x="6569661" y="3552755"/>
                  <a:pt x="6865332" y="3257084"/>
                  <a:pt x="6865332" y="2892356"/>
                </a:cubicBezTo>
                <a:cubicBezTo>
                  <a:pt x="6865332" y="2527629"/>
                  <a:pt x="6569661" y="2231958"/>
                  <a:pt x="6204933" y="2231958"/>
                </a:cubicBezTo>
                <a:close/>
                <a:moveTo>
                  <a:pt x="7874677" y="2112216"/>
                </a:moveTo>
                <a:cubicBezTo>
                  <a:pt x="7509949" y="2112216"/>
                  <a:pt x="7214278" y="2407886"/>
                  <a:pt x="7214278" y="2772615"/>
                </a:cubicBezTo>
                <a:cubicBezTo>
                  <a:pt x="7214278" y="3137342"/>
                  <a:pt x="7509949" y="3433013"/>
                  <a:pt x="7874677" y="3433013"/>
                </a:cubicBezTo>
                <a:cubicBezTo>
                  <a:pt x="8239405" y="3433013"/>
                  <a:pt x="8535076" y="3137342"/>
                  <a:pt x="8535076" y="2772615"/>
                </a:cubicBezTo>
                <a:cubicBezTo>
                  <a:pt x="8535076" y="2407886"/>
                  <a:pt x="8239405" y="2112216"/>
                  <a:pt x="7874677" y="2112216"/>
                </a:cubicBezTo>
                <a:close/>
                <a:moveTo>
                  <a:pt x="9514453" y="1698171"/>
                </a:moveTo>
                <a:cubicBezTo>
                  <a:pt x="9197862" y="1698171"/>
                  <a:pt x="8941214" y="1954819"/>
                  <a:pt x="8941214" y="2271410"/>
                </a:cubicBezTo>
                <a:cubicBezTo>
                  <a:pt x="8941214" y="2588001"/>
                  <a:pt x="9197862" y="2844649"/>
                  <a:pt x="9514453" y="2844649"/>
                </a:cubicBezTo>
                <a:cubicBezTo>
                  <a:pt x="9831044" y="2844649"/>
                  <a:pt x="10087692" y="2588001"/>
                  <a:pt x="10087692" y="2271410"/>
                </a:cubicBezTo>
                <a:cubicBezTo>
                  <a:pt x="10087692" y="1954819"/>
                  <a:pt x="9831044" y="1698171"/>
                  <a:pt x="9514453" y="1698171"/>
                </a:cubicBezTo>
                <a:close/>
                <a:moveTo>
                  <a:pt x="4882532" y="1424407"/>
                </a:moveTo>
                <a:lnTo>
                  <a:pt x="4882532" y="3213679"/>
                </a:lnTo>
                <a:lnTo>
                  <a:pt x="5317961" y="3213679"/>
                </a:lnTo>
                <a:lnTo>
                  <a:pt x="5317961" y="1424407"/>
                </a:lnTo>
                <a:close/>
                <a:moveTo>
                  <a:pt x="8164516" y="427443"/>
                </a:moveTo>
                <a:cubicBezTo>
                  <a:pt x="7799788" y="427443"/>
                  <a:pt x="7504117" y="723114"/>
                  <a:pt x="7504117" y="1087842"/>
                </a:cubicBezTo>
                <a:cubicBezTo>
                  <a:pt x="7504117" y="1452570"/>
                  <a:pt x="7799788" y="1748241"/>
                  <a:pt x="8164516" y="1748241"/>
                </a:cubicBezTo>
                <a:cubicBezTo>
                  <a:pt x="8529244" y="1748241"/>
                  <a:pt x="8824915" y="1452570"/>
                  <a:pt x="8824915" y="1087842"/>
                </a:cubicBezTo>
                <a:cubicBezTo>
                  <a:pt x="8824915" y="723114"/>
                  <a:pt x="8529244" y="427443"/>
                  <a:pt x="8164516" y="427443"/>
                </a:cubicBezTo>
                <a:close/>
                <a:moveTo>
                  <a:pt x="6103333" y="25787"/>
                </a:moveTo>
                <a:cubicBezTo>
                  <a:pt x="5634397" y="25787"/>
                  <a:pt x="5254249" y="405935"/>
                  <a:pt x="5254249" y="874872"/>
                </a:cubicBezTo>
                <a:cubicBezTo>
                  <a:pt x="5254249" y="1343809"/>
                  <a:pt x="5634397" y="1723957"/>
                  <a:pt x="6103333" y="1723957"/>
                </a:cubicBezTo>
                <a:cubicBezTo>
                  <a:pt x="6572270" y="1723957"/>
                  <a:pt x="6952418" y="1343809"/>
                  <a:pt x="6952418" y="874872"/>
                </a:cubicBezTo>
                <a:cubicBezTo>
                  <a:pt x="6952418" y="405935"/>
                  <a:pt x="6572270" y="25787"/>
                  <a:pt x="6103333" y="2578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49086"/>
                </a:lnTo>
                <a:cubicBezTo>
                  <a:pt x="12192000" y="380149"/>
                  <a:pt x="11811852" y="1"/>
                  <a:pt x="11342915" y="1"/>
                </a:cubicBezTo>
                <a:cubicBezTo>
                  <a:pt x="10873978" y="1"/>
                  <a:pt x="10493830" y="380149"/>
                  <a:pt x="10493830" y="849086"/>
                </a:cubicBezTo>
                <a:cubicBezTo>
                  <a:pt x="10493830" y="1318023"/>
                  <a:pt x="10873978" y="1698171"/>
                  <a:pt x="11342915" y="1698171"/>
                </a:cubicBezTo>
                <a:cubicBezTo>
                  <a:pt x="11811852" y="1698171"/>
                  <a:pt x="12192000" y="1318023"/>
                  <a:pt x="12192000" y="849086"/>
                </a:cubicBezTo>
                <a:lnTo>
                  <a:pt x="12192000" y="6854758"/>
                </a:lnTo>
                <a:lnTo>
                  <a:pt x="0" y="6854758"/>
                </a:lnTo>
                <a:close/>
              </a:path>
            </a:pathLst>
          </a:custGeom>
          <a:solidFill>
            <a:srgbClr val="FFFFFF">
              <a:alpha val="8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B2087D-04CA-4E72-9612-2AC014DA4C0A}"/>
              </a:ext>
            </a:extLst>
          </p:cNvPr>
          <p:cNvSpPr/>
          <p:nvPr userDrawn="1"/>
        </p:nvSpPr>
        <p:spPr>
          <a:xfrm>
            <a:off x="2819400" y="2378786"/>
            <a:ext cx="5194300" cy="2180514"/>
          </a:xfrm>
          <a:prstGeom prst="rect">
            <a:avLst/>
          </a:prstGeom>
          <a:solidFill>
            <a:schemeClr val="accent3">
              <a:alpha val="8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021271" y="2915045"/>
            <a:ext cx="4790559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021529" y="4119867"/>
            <a:ext cx="4790043" cy="276999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 OF THE DOCUMENT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3021271" y="2473854"/>
            <a:ext cx="4790559" cy="27699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800" i="1" dirty="0" smtClean="0">
                <a:solidFill>
                  <a:srgbClr val="FFFFFF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1499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433514"/>
            <a:ext cx="10820400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3701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5754B4F0-EC57-4BB1-9AF0-F786565CDD7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3176"/>
            <a:ext cx="12192000" cy="32734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445072"/>
            <a:ext cx="108204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1268133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C83AC-F19F-476C-B089-FC9037AD3B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47879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9A1DD4E-D669-427C-9D76-B0BEE5D9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45072"/>
            <a:ext cx="47879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3668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432372"/>
            <a:ext cx="6620744" cy="4935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7ABF9DB-6962-494B-A97A-585186CD46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6" y="980100"/>
            <a:ext cx="6620744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5967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BD3EB6D-1CD2-49B0-AB4C-21CE2E9A5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r="48114"/>
          <a:stretch/>
        </p:blipFill>
        <p:spPr>
          <a:xfrm>
            <a:off x="7048500" y="0"/>
            <a:ext cx="5168900" cy="6639253"/>
          </a:xfrm>
          <a:prstGeom prst="rect">
            <a:avLst/>
          </a:prstGeom>
        </p:spPr>
      </p:pic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F612C7B-614D-4083-A9ED-0FEA2207760A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 rot="3877479">
            <a:off x="384081" y="-3574586"/>
            <a:ext cx="11460104" cy="13998542"/>
          </a:xfrm>
          <a:custGeom>
            <a:avLst/>
            <a:gdLst>
              <a:gd name="connsiteX0" fmla="*/ 10262504 w 11460104"/>
              <a:gd name="connsiteY0" fmla="*/ 3321966 h 13998542"/>
              <a:gd name="connsiteX1" fmla="*/ 10262612 w 11460104"/>
              <a:gd name="connsiteY1" fmla="*/ 3321915 h 13998542"/>
              <a:gd name="connsiteX2" fmla="*/ 10326688 w 11460104"/>
              <a:gd name="connsiteY2" fmla="*/ 3311893 h 13998542"/>
              <a:gd name="connsiteX3" fmla="*/ 10327965 w 11460104"/>
              <a:gd name="connsiteY3" fmla="*/ 3316203 h 13998542"/>
              <a:gd name="connsiteX4" fmla="*/ 10327353 w 11460104"/>
              <a:gd name="connsiteY4" fmla="*/ 3326667 h 13998542"/>
              <a:gd name="connsiteX5" fmla="*/ 10320681 w 11460104"/>
              <a:gd name="connsiteY5" fmla="*/ 3327643 h 13998542"/>
              <a:gd name="connsiteX6" fmla="*/ 10281928 w 11460104"/>
              <a:gd name="connsiteY6" fmla="*/ 3324846 h 13998542"/>
              <a:gd name="connsiteX7" fmla="*/ 10103122 w 11460104"/>
              <a:gd name="connsiteY7" fmla="*/ 3369343 h 13998542"/>
              <a:gd name="connsiteX8" fmla="*/ 10147275 w 11460104"/>
              <a:gd name="connsiteY8" fmla="*/ 3311893 h 13998542"/>
              <a:gd name="connsiteX9" fmla="*/ 10239234 w 11460104"/>
              <a:gd name="connsiteY9" fmla="*/ 3318515 h 13998542"/>
              <a:gd name="connsiteX10" fmla="*/ 10262504 w 11460104"/>
              <a:gd name="connsiteY10" fmla="*/ 3321966 h 13998542"/>
              <a:gd name="connsiteX11" fmla="*/ 10227570 w 11460104"/>
              <a:gd name="connsiteY11" fmla="*/ 3338202 h 13998542"/>
              <a:gd name="connsiteX12" fmla="*/ 10198536 w 11460104"/>
              <a:gd name="connsiteY12" fmla="*/ 3334802 h 13998542"/>
              <a:gd name="connsiteX13" fmla="*/ 10121644 w 11460104"/>
              <a:gd name="connsiteY13" fmla="*/ 3357710 h 13998542"/>
              <a:gd name="connsiteX14" fmla="*/ 10103122 w 11460104"/>
              <a:gd name="connsiteY14" fmla="*/ 3369343 h 13998542"/>
              <a:gd name="connsiteX15" fmla="*/ 9579745 w 11460104"/>
              <a:gd name="connsiteY15" fmla="*/ 2058195 h 13998542"/>
              <a:gd name="connsiteX16" fmla="*/ 9602628 w 11460104"/>
              <a:gd name="connsiteY16" fmla="*/ 2056207 h 13998542"/>
              <a:gd name="connsiteX17" fmla="*/ 9641074 w 11460104"/>
              <a:gd name="connsiteY17" fmla="*/ 2067183 h 13998542"/>
              <a:gd name="connsiteX18" fmla="*/ 9820487 w 11460104"/>
              <a:gd name="connsiteY18" fmla="*/ 2166455 h 13998542"/>
              <a:gd name="connsiteX19" fmla="*/ 9829829 w 11460104"/>
              <a:gd name="connsiteY19" fmla="*/ 2176812 h 13998542"/>
              <a:gd name="connsiteX20" fmla="*/ 9418470 w 11460104"/>
              <a:gd name="connsiteY20" fmla="*/ 2395114 h 13998542"/>
              <a:gd name="connsiteX21" fmla="*/ 9423215 w 11460104"/>
              <a:gd name="connsiteY21" fmla="*/ 2387906 h 13998542"/>
              <a:gd name="connsiteX22" fmla="*/ 9425556 w 11460104"/>
              <a:gd name="connsiteY22" fmla="*/ 2388531 h 13998542"/>
              <a:gd name="connsiteX23" fmla="*/ 9424317 w 11460104"/>
              <a:gd name="connsiteY23" fmla="*/ 2390412 h 13998542"/>
              <a:gd name="connsiteX24" fmla="*/ 9378362 w 11460104"/>
              <a:gd name="connsiteY24" fmla="*/ 2410815 h 13998542"/>
              <a:gd name="connsiteX25" fmla="*/ 9412002 w 11460104"/>
              <a:gd name="connsiteY25" fmla="*/ 2400315 h 13998542"/>
              <a:gd name="connsiteX26" fmla="*/ 9418470 w 11460104"/>
              <a:gd name="connsiteY26" fmla="*/ 2395114 h 13998542"/>
              <a:gd name="connsiteX27" fmla="*/ 9409900 w 11460104"/>
              <a:gd name="connsiteY27" fmla="*/ 2408130 h 13998542"/>
              <a:gd name="connsiteX28" fmla="*/ 9378362 w 11460104"/>
              <a:gd name="connsiteY28" fmla="*/ 2410815 h 13998542"/>
              <a:gd name="connsiteX29" fmla="*/ 9102149 w 11460104"/>
              <a:gd name="connsiteY29" fmla="*/ 2497488 h 13998542"/>
              <a:gd name="connsiteX30" fmla="*/ 9108041 w 11460104"/>
              <a:gd name="connsiteY30" fmla="*/ 2501496 h 13998542"/>
              <a:gd name="connsiteX31" fmla="*/ 9128466 w 11460104"/>
              <a:gd name="connsiteY31" fmla="*/ 2517722 h 13998542"/>
              <a:gd name="connsiteX32" fmla="*/ 9106390 w 11460104"/>
              <a:gd name="connsiteY32" fmla="*/ 2503763 h 13998542"/>
              <a:gd name="connsiteX33" fmla="*/ 9112559 w 11460104"/>
              <a:gd name="connsiteY33" fmla="*/ 2442806 h 13998542"/>
              <a:gd name="connsiteX34" fmla="*/ 9122709 w 11460104"/>
              <a:gd name="connsiteY34" fmla="*/ 2446610 h 13998542"/>
              <a:gd name="connsiteX35" fmla="*/ 9147688 w 11460104"/>
              <a:gd name="connsiteY35" fmla="*/ 2456633 h 13998542"/>
              <a:gd name="connsiteX36" fmla="*/ 9166912 w 11460104"/>
              <a:gd name="connsiteY36" fmla="*/ 2464269 h 13998542"/>
              <a:gd name="connsiteX37" fmla="*/ 9179726 w 11460104"/>
              <a:gd name="connsiteY37" fmla="*/ 2487178 h 13998542"/>
              <a:gd name="connsiteX38" fmla="*/ 9134473 w 11460104"/>
              <a:gd name="connsiteY38" fmla="*/ 2465223 h 13998542"/>
              <a:gd name="connsiteX39" fmla="*/ 7682078 w 11460104"/>
              <a:gd name="connsiteY39" fmla="*/ 2252555 h 13998542"/>
              <a:gd name="connsiteX40" fmla="*/ 7697643 w 11460104"/>
              <a:gd name="connsiteY40" fmla="*/ 2238000 h 13998542"/>
              <a:gd name="connsiteX41" fmla="*/ 7711077 w 11460104"/>
              <a:gd name="connsiteY41" fmla="*/ 2243403 h 13998542"/>
              <a:gd name="connsiteX42" fmla="*/ 7711668 w 11460104"/>
              <a:gd name="connsiteY42" fmla="*/ 2247600 h 13998542"/>
              <a:gd name="connsiteX43" fmla="*/ 7711384 w 11460104"/>
              <a:gd name="connsiteY43" fmla="*/ 2257790 h 13998542"/>
              <a:gd name="connsiteX44" fmla="*/ 7708297 w 11460104"/>
              <a:gd name="connsiteY44" fmla="*/ 2258740 h 13998542"/>
              <a:gd name="connsiteX45" fmla="*/ 7628063 w 11460104"/>
              <a:gd name="connsiteY45" fmla="*/ 2243402 h 13998542"/>
              <a:gd name="connsiteX46" fmla="*/ 7670612 w 11460104"/>
              <a:gd name="connsiteY46" fmla="*/ 2249851 h 13998542"/>
              <a:gd name="connsiteX47" fmla="*/ 7682078 w 11460104"/>
              <a:gd name="connsiteY47" fmla="*/ 2252555 h 13998542"/>
              <a:gd name="connsiteX48" fmla="*/ 7681429 w 11460104"/>
              <a:gd name="connsiteY48" fmla="*/ 2253163 h 13998542"/>
              <a:gd name="connsiteX49" fmla="*/ 7651781 w 11460104"/>
              <a:gd name="connsiteY49" fmla="*/ 2265711 h 13998542"/>
              <a:gd name="connsiteX50" fmla="*/ 7616204 w 11460104"/>
              <a:gd name="connsiteY50" fmla="*/ 2288020 h 13998542"/>
              <a:gd name="connsiteX51" fmla="*/ 7628063 w 11460104"/>
              <a:gd name="connsiteY51" fmla="*/ 2243402 h 13998542"/>
              <a:gd name="connsiteX52" fmla="*/ 7293045 w 11460104"/>
              <a:gd name="connsiteY52" fmla="*/ 1343618 h 13998542"/>
              <a:gd name="connsiteX53" fmla="*/ 7294049 w 11460104"/>
              <a:gd name="connsiteY53" fmla="*/ 1344476 h 13998542"/>
              <a:gd name="connsiteX54" fmla="*/ 7293554 w 11460104"/>
              <a:gd name="connsiteY54" fmla="*/ 1346059 h 13998542"/>
              <a:gd name="connsiteX55" fmla="*/ 7290849 w 11460104"/>
              <a:gd name="connsiteY55" fmla="*/ 1350637 h 13998542"/>
              <a:gd name="connsiteX56" fmla="*/ 7272291 w 11460104"/>
              <a:gd name="connsiteY56" fmla="*/ 1365927 h 13998542"/>
              <a:gd name="connsiteX57" fmla="*/ 7287856 w 11460104"/>
              <a:gd name="connsiteY57" fmla="*/ 1355702 h 13998542"/>
              <a:gd name="connsiteX58" fmla="*/ 7290849 w 11460104"/>
              <a:gd name="connsiteY58" fmla="*/ 1350637 h 13998542"/>
              <a:gd name="connsiteX59" fmla="*/ 7286883 w 11460104"/>
              <a:gd name="connsiteY59" fmla="*/ 1363313 h 13998542"/>
              <a:gd name="connsiteX60" fmla="*/ 7272291 w 11460104"/>
              <a:gd name="connsiteY60" fmla="*/ 1365927 h 13998542"/>
              <a:gd name="connsiteX61" fmla="*/ 7144766 w 11460104"/>
              <a:gd name="connsiteY61" fmla="*/ 1451195 h 13998542"/>
              <a:gd name="connsiteX62" fmla="*/ 7147215 w 11460104"/>
              <a:gd name="connsiteY62" fmla="*/ 1454232 h 13998542"/>
              <a:gd name="connsiteX63" fmla="*/ 7156665 w 11460104"/>
              <a:gd name="connsiteY63" fmla="*/ 1470035 h 13998542"/>
              <a:gd name="connsiteX64" fmla="*/ 7146451 w 11460104"/>
              <a:gd name="connsiteY64" fmla="*/ 1456440 h 13998542"/>
              <a:gd name="connsiteX65" fmla="*/ 7149305 w 11460104"/>
              <a:gd name="connsiteY65" fmla="*/ 1397081 h 13998542"/>
              <a:gd name="connsiteX66" fmla="*/ 7154001 w 11460104"/>
              <a:gd name="connsiteY66" fmla="*/ 1400785 h 13998542"/>
              <a:gd name="connsiteX67" fmla="*/ 7165559 w 11460104"/>
              <a:gd name="connsiteY67" fmla="*/ 1410545 h 13998542"/>
              <a:gd name="connsiteX68" fmla="*/ 7174454 w 11460104"/>
              <a:gd name="connsiteY68" fmla="*/ 1417981 h 13998542"/>
              <a:gd name="connsiteX69" fmla="*/ 7180384 w 11460104"/>
              <a:gd name="connsiteY69" fmla="*/ 1440289 h 13998542"/>
              <a:gd name="connsiteX70" fmla="*/ 7159445 w 11460104"/>
              <a:gd name="connsiteY70" fmla="*/ 1418910 h 13998542"/>
              <a:gd name="connsiteX71" fmla="*/ 6771246 w 11460104"/>
              <a:gd name="connsiteY71" fmla="*/ 1702882 h 13998542"/>
              <a:gd name="connsiteX72" fmla="*/ 6771245 w 11460104"/>
              <a:gd name="connsiteY72" fmla="*/ 1760047 h 13998542"/>
              <a:gd name="connsiteX73" fmla="*/ 6821646 w 11460104"/>
              <a:gd name="connsiteY73" fmla="*/ 1968262 h 13998542"/>
              <a:gd name="connsiteX74" fmla="*/ 6783105 w 11460104"/>
              <a:gd name="connsiteY74" fmla="*/ 1826973 h 13998542"/>
              <a:gd name="connsiteX75" fmla="*/ 6738633 w 11460104"/>
              <a:gd name="connsiteY75" fmla="*/ 1797228 h 13998542"/>
              <a:gd name="connsiteX76" fmla="*/ 6720844 w 11460104"/>
              <a:gd name="connsiteY76" fmla="*/ 2057497 h 13998542"/>
              <a:gd name="connsiteX77" fmla="*/ 6682303 w 11460104"/>
              <a:gd name="connsiteY77" fmla="*/ 2079805 h 13998542"/>
              <a:gd name="connsiteX78" fmla="*/ 6682302 w 11460104"/>
              <a:gd name="connsiteY78" fmla="*/ 2169040 h 13998542"/>
              <a:gd name="connsiteX79" fmla="*/ 6655619 w 11460104"/>
              <a:gd name="connsiteY79" fmla="*/ 2124423 h 13998542"/>
              <a:gd name="connsiteX80" fmla="*/ 6623007 w 11460104"/>
              <a:gd name="connsiteY80" fmla="*/ 2228530 h 13998542"/>
              <a:gd name="connsiteX81" fmla="*/ 6593359 w 11460104"/>
              <a:gd name="connsiteY81" fmla="*/ 2325202 h 13998542"/>
              <a:gd name="connsiteX82" fmla="*/ 6593359 w 11460104"/>
              <a:gd name="connsiteY82" fmla="*/ 2414436 h 13998542"/>
              <a:gd name="connsiteX83" fmla="*/ 6611148 w 11460104"/>
              <a:gd name="connsiteY83" fmla="*/ 2444181 h 13998542"/>
              <a:gd name="connsiteX84" fmla="*/ 6631901 w 11460104"/>
              <a:gd name="connsiteY84" fmla="*/ 2451617 h 13998542"/>
              <a:gd name="connsiteX85" fmla="*/ 6655620 w 11460104"/>
              <a:gd name="connsiteY85" fmla="*/ 2421872 h 13998542"/>
              <a:gd name="connsiteX86" fmla="*/ 6640796 w 11460104"/>
              <a:gd name="connsiteY86" fmla="*/ 2511107 h 13998542"/>
              <a:gd name="connsiteX87" fmla="*/ 6623007 w 11460104"/>
              <a:gd name="connsiteY87" fmla="*/ 2689577 h 13998542"/>
              <a:gd name="connsiteX88" fmla="*/ 6623007 w 11460104"/>
              <a:gd name="connsiteY88" fmla="*/ 2659248 h 13998542"/>
              <a:gd name="connsiteX89" fmla="*/ 6623192 w 11460104"/>
              <a:gd name="connsiteY89" fmla="*/ 2657508 h 13998542"/>
              <a:gd name="connsiteX90" fmla="*/ 6623007 w 11460104"/>
              <a:gd name="connsiteY90" fmla="*/ 2630087 h 13998542"/>
              <a:gd name="connsiteX91" fmla="*/ 6623007 w 11460104"/>
              <a:gd name="connsiteY91" fmla="*/ 2659248 h 13998542"/>
              <a:gd name="connsiteX92" fmla="*/ 6622382 w 11460104"/>
              <a:gd name="connsiteY92" fmla="*/ 2665118 h 13998542"/>
              <a:gd name="connsiteX93" fmla="*/ 6620042 w 11460104"/>
              <a:gd name="connsiteY93" fmla="*/ 2682140 h 13998542"/>
              <a:gd name="connsiteX94" fmla="*/ 6596324 w 11460104"/>
              <a:gd name="connsiteY94" fmla="*/ 2734194 h 13998542"/>
              <a:gd name="connsiteX95" fmla="*/ 6542958 w 11460104"/>
              <a:gd name="connsiteY95" fmla="*/ 2771375 h 13998542"/>
              <a:gd name="connsiteX96" fmla="*/ 6522205 w 11460104"/>
              <a:gd name="connsiteY96" fmla="*/ 2853174 h 13998542"/>
              <a:gd name="connsiteX97" fmla="*/ 6465874 w 11460104"/>
              <a:gd name="connsiteY97" fmla="*/ 2979590 h 13998542"/>
              <a:gd name="connsiteX98" fmla="*/ 6480698 w 11460104"/>
              <a:gd name="connsiteY98" fmla="*/ 3016771 h 13998542"/>
              <a:gd name="connsiteX99" fmla="*/ 6513311 w 11460104"/>
              <a:gd name="connsiteY99" fmla="*/ 3076261 h 13998542"/>
              <a:gd name="connsiteX100" fmla="*/ 6531099 w 11460104"/>
              <a:gd name="connsiteY100" fmla="*/ 3135750 h 13998542"/>
              <a:gd name="connsiteX101" fmla="*/ 6495522 w 11460104"/>
              <a:gd name="connsiteY101" fmla="*/ 3158059 h 13998542"/>
              <a:gd name="connsiteX102" fmla="*/ 6528135 w 11460104"/>
              <a:gd name="connsiteY102" fmla="*/ 3165496 h 13998542"/>
              <a:gd name="connsiteX103" fmla="*/ 6554818 w 11460104"/>
              <a:gd name="connsiteY103" fmla="*/ 3128314 h 13998542"/>
              <a:gd name="connsiteX104" fmla="*/ 6596324 w 11460104"/>
              <a:gd name="connsiteY104" fmla="*/ 3120878 h 13998542"/>
              <a:gd name="connsiteX105" fmla="*/ 6602253 w 11460104"/>
              <a:gd name="connsiteY105" fmla="*/ 3165496 h 13998542"/>
              <a:gd name="connsiteX106" fmla="*/ 6593359 w 11460104"/>
              <a:gd name="connsiteY106" fmla="*/ 3210113 h 13998542"/>
              <a:gd name="connsiteX107" fmla="*/ 6557782 w 11460104"/>
              <a:gd name="connsiteY107" fmla="*/ 3232422 h 13998542"/>
              <a:gd name="connsiteX108" fmla="*/ 6504416 w 11460104"/>
              <a:gd name="connsiteY108" fmla="*/ 3269603 h 13998542"/>
              <a:gd name="connsiteX109" fmla="*/ 6522205 w 11460104"/>
              <a:gd name="connsiteY109" fmla="*/ 3284476 h 13998542"/>
              <a:gd name="connsiteX110" fmla="*/ 6557782 w 11460104"/>
              <a:gd name="connsiteY110" fmla="*/ 3381146 h 13998542"/>
              <a:gd name="connsiteX111" fmla="*/ 6534064 w 11460104"/>
              <a:gd name="connsiteY111" fmla="*/ 3425764 h 13998542"/>
              <a:gd name="connsiteX112" fmla="*/ 6563711 w 11460104"/>
              <a:gd name="connsiteY112" fmla="*/ 3507563 h 13998542"/>
              <a:gd name="connsiteX113" fmla="*/ 6596324 w 11460104"/>
              <a:gd name="connsiteY113" fmla="*/ 3507563 h 13998542"/>
              <a:gd name="connsiteX114" fmla="*/ 6682302 w 11460104"/>
              <a:gd name="connsiteY114" fmla="*/ 3462945 h 13998542"/>
              <a:gd name="connsiteX115" fmla="*/ 6753457 w 11460104"/>
              <a:gd name="connsiteY115" fmla="*/ 3552180 h 13998542"/>
              <a:gd name="connsiteX116" fmla="*/ 6771245 w 11460104"/>
              <a:gd name="connsiteY116" fmla="*/ 3581925 h 13998542"/>
              <a:gd name="connsiteX117" fmla="*/ 6774210 w 11460104"/>
              <a:gd name="connsiteY117" fmla="*/ 3663724 h 13998542"/>
              <a:gd name="connsiteX118" fmla="*/ 6780140 w 11460104"/>
              <a:gd name="connsiteY118" fmla="*/ 3708340 h 13998542"/>
              <a:gd name="connsiteX119" fmla="*/ 6803858 w 11460104"/>
              <a:gd name="connsiteY119" fmla="*/ 3819884 h 13998542"/>
              <a:gd name="connsiteX120" fmla="*/ 6812752 w 11460104"/>
              <a:gd name="connsiteY120" fmla="*/ 4154514 h 13998542"/>
              <a:gd name="connsiteX121" fmla="*/ 6824611 w 11460104"/>
              <a:gd name="connsiteY121" fmla="*/ 4221441 h 13998542"/>
              <a:gd name="connsiteX122" fmla="*/ 6842400 w 11460104"/>
              <a:gd name="connsiteY122" fmla="*/ 4347857 h 13998542"/>
              <a:gd name="connsiteX123" fmla="*/ 6875013 w 11460104"/>
              <a:gd name="connsiteY123" fmla="*/ 4407347 h 13998542"/>
              <a:gd name="connsiteX124" fmla="*/ 6916519 w 11460104"/>
              <a:gd name="connsiteY124" fmla="*/ 4474273 h 13998542"/>
              <a:gd name="connsiteX125" fmla="*/ 6937272 w 11460104"/>
              <a:gd name="connsiteY125" fmla="*/ 4556071 h 13998542"/>
              <a:gd name="connsiteX126" fmla="*/ 6880942 w 11460104"/>
              <a:gd name="connsiteY126" fmla="*/ 4526326 h 13998542"/>
              <a:gd name="connsiteX127" fmla="*/ 6872047 w 11460104"/>
              <a:gd name="connsiteY127" fmla="*/ 4712232 h 13998542"/>
              <a:gd name="connsiteX128" fmla="*/ 6889836 w 11460104"/>
              <a:gd name="connsiteY128" fmla="*/ 4898138 h 13998542"/>
              <a:gd name="connsiteX129" fmla="*/ 6880942 w 11460104"/>
              <a:gd name="connsiteY129" fmla="*/ 5232768 h 13998542"/>
              <a:gd name="connsiteX130" fmla="*/ 6892801 w 11460104"/>
              <a:gd name="connsiteY130" fmla="*/ 5299695 h 13998542"/>
              <a:gd name="connsiteX131" fmla="*/ 6922449 w 11460104"/>
              <a:gd name="connsiteY131" fmla="*/ 5426110 h 13998542"/>
              <a:gd name="connsiteX132" fmla="*/ 6931343 w 11460104"/>
              <a:gd name="connsiteY132" fmla="*/ 5574835 h 13998542"/>
              <a:gd name="connsiteX133" fmla="*/ 6955061 w 11460104"/>
              <a:gd name="connsiteY133" fmla="*/ 5678942 h 13998542"/>
              <a:gd name="connsiteX134" fmla="*/ 6978779 w 11460104"/>
              <a:gd name="connsiteY134" fmla="*/ 5812795 h 13998542"/>
              <a:gd name="connsiteX135" fmla="*/ 6993603 w 11460104"/>
              <a:gd name="connsiteY135" fmla="*/ 5849976 h 13998542"/>
              <a:gd name="connsiteX136" fmla="*/ 7011392 w 11460104"/>
              <a:gd name="connsiteY136" fmla="*/ 5879721 h 13998542"/>
              <a:gd name="connsiteX137" fmla="*/ 7055863 w 11460104"/>
              <a:gd name="connsiteY137" fmla="*/ 5954083 h 13998542"/>
              <a:gd name="connsiteX138" fmla="*/ 7115158 w 11460104"/>
              <a:gd name="connsiteY138" fmla="*/ 5976392 h 13998542"/>
              <a:gd name="connsiteX139" fmla="*/ 7138876 w 11460104"/>
              <a:gd name="connsiteY139" fmla="*/ 5745869 h 13998542"/>
              <a:gd name="connsiteX140" fmla="*/ 7144806 w 11460104"/>
              <a:gd name="connsiteY140" fmla="*/ 5701251 h 13998542"/>
              <a:gd name="connsiteX141" fmla="*/ 7144806 w 11460104"/>
              <a:gd name="connsiteY141" fmla="*/ 5656634 h 13998542"/>
              <a:gd name="connsiteX142" fmla="*/ 7189278 w 11460104"/>
              <a:gd name="connsiteY142" fmla="*/ 5366621 h 13998542"/>
              <a:gd name="connsiteX143" fmla="*/ 7221890 w 11460104"/>
              <a:gd name="connsiteY143" fmla="*/ 5344312 h 13998542"/>
              <a:gd name="connsiteX144" fmla="*/ 7275256 w 11460104"/>
              <a:gd name="connsiteY144" fmla="*/ 5269950 h 13998542"/>
              <a:gd name="connsiteX145" fmla="*/ 7310833 w 11460104"/>
              <a:gd name="connsiteY145" fmla="*/ 5180715 h 13998542"/>
              <a:gd name="connsiteX146" fmla="*/ 7352340 w 11460104"/>
              <a:gd name="connsiteY146" fmla="*/ 4957628 h 13998542"/>
              <a:gd name="connsiteX147" fmla="*/ 7379023 w 11460104"/>
              <a:gd name="connsiteY147" fmla="*/ 4920447 h 13998542"/>
              <a:gd name="connsiteX148" fmla="*/ 7488719 w 11460104"/>
              <a:gd name="connsiteY148" fmla="*/ 4853521 h 13998542"/>
              <a:gd name="connsiteX149" fmla="*/ 7518367 w 11460104"/>
              <a:gd name="connsiteY149" fmla="*/ 4786594 h 13998542"/>
              <a:gd name="connsiteX150" fmla="*/ 7553944 w 11460104"/>
              <a:gd name="connsiteY150" fmla="*/ 4689924 h 13998542"/>
              <a:gd name="connsiteX151" fmla="*/ 7571733 w 11460104"/>
              <a:gd name="connsiteY151" fmla="*/ 4630434 h 13998542"/>
              <a:gd name="connsiteX152" fmla="*/ 7503543 w 11460104"/>
              <a:gd name="connsiteY152" fmla="*/ 4444528 h 13998542"/>
              <a:gd name="connsiteX153" fmla="*/ 7530226 w 11460104"/>
              <a:gd name="connsiteY153" fmla="*/ 4511454 h 13998542"/>
              <a:gd name="connsiteX154" fmla="*/ 7556909 w 11460104"/>
              <a:gd name="connsiteY154" fmla="*/ 4563508 h 13998542"/>
              <a:gd name="connsiteX155" fmla="*/ 7592486 w 11460104"/>
              <a:gd name="connsiteY155" fmla="*/ 4496581 h 13998542"/>
              <a:gd name="connsiteX156" fmla="*/ 7586556 w 11460104"/>
              <a:gd name="connsiteY156" fmla="*/ 4451964 h 13998542"/>
              <a:gd name="connsiteX157" fmla="*/ 7568768 w 11460104"/>
              <a:gd name="connsiteY157" fmla="*/ 4310676 h 13998542"/>
              <a:gd name="connsiteX158" fmla="*/ 7586557 w 11460104"/>
              <a:gd name="connsiteY158" fmla="*/ 4288367 h 13998542"/>
              <a:gd name="connsiteX159" fmla="*/ 7589521 w 11460104"/>
              <a:gd name="connsiteY159" fmla="*/ 4221441 h 13998542"/>
              <a:gd name="connsiteX160" fmla="*/ 7586556 w 11460104"/>
              <a:gd name="connsiteY160" fmla="*/ 4132206 h 13998542"/>
              <a:gd name="connsiteX161" fmla="*/ 7542085 w 11460104"/>
              <a:gd name="connsiteY161" fmla="*/ 4005790 h 13998542"/>
              <a:gd name="connsiteX162" fmla="*/ 7628063 w 11460104"/>
              <a:gd name="connsiteY162" fmla="*/ 3976045 h 13998542"/>
              <a:gd name="connsiteX163" fmla="*/ 7598416 w 11460104"/>
              <a:gd name="connsiteY163" fmla="*/ 3886810 h 13998542"/>
              <a:gd name="connsiteX164" fmla="*/ 7636958 w 11460104"/>
              <a:gd name="connsiteY164" fmla="*/ 3834756 h 13998542"/>
              <a:gd name="connsiteX165" fmla="*/ 7648817 w 11460104"/>
              <a:gd name="connsiteY165" fmla="*/ 3790139 h 13998542"/>
              <a:gd name="connsiteX166" fmla="*/ 7586557 w 11460104"/>
              <a:gd name="connsiteY166" fmla="*/ 3604233 h 13998542"/>
              <a:gd name="connsiteX167" fmla="*/ 7604345 w 11460104"/>
              <a:gd name="connsiteY167" fmla="*/ 3678596 h 13998542"/>
              <a:gd name="connsiteX168" fmla="*/ 7639922 w 11460104"/>
              <a:gd name="connsiteY168" fmla="*/ 3559616 h 13998542"/>
              <a:gd name="connsiteX169" fmla="*/ 7633993 w 11460104"/>
              <a:gd name="connsiteY169" fmla="*/ 3514999 h 13998542"/>
              <a:gd name="connsiteX170" fmla="*/ 7625099 w 11460104"/>
              <a:gd name="connsiteY170" fmla="*/ 3462945 h 13998542"/>
              <a:gd name="connsiteX171" fmla="*/ 7580627 w 11460104"/>
              <a:gd name="connsiteY171" fmla="*/ 3373710 h 13998542"/>
              <a:gd name="connsiteX172" fmla="*/ 7586556 w 11460104"/>
              <a:gd name="connsiteY172" fmla="*/ 3306784 h 13998542"/>
              <a:gd name="connsiteX173" fmla="*/ 7660676 w 11460104"/>
              <a:gd name="connsiteY173" fmla="*/ 3224986 h 13998542"/>
              <a:gd name="connsiteX174" fmla="*/ 7595451 w 11460104"/>
              <a:gd name="connsiteY174" fmla="*/ 2979590 h 13998542"/>
              <a:gd name="connsiteX175" fmla="*/ 7604345 w 11460104"/>
              <a:gd name="connsiteY175" fmla="*/ 2808556 h 13998542"/>
              <a:gd name="connsiteX176" fmla="*/ 7642887 w 11460104"/>
              <a:gd name="connsiteY176" fmla="*/ 2823429 h 13998542"/>
              <a:gd name="connsiteX177" fmla="*/ 7639922 w 11460104"/>
              <a:gd name="connsiteY177" fmla="*/ 2644959 h 13998542"/>
              <a:gd name="connsiteX178" fmla="*/ 7636958 w 11460104"/>
              <a:gd name="connsiteY178" fmla="*/ 2503671 h 13998542"/>
              <a:gd name="connsiteX179" fmla="*/ 7645852 w 11460104"/>
              <a:gd name="connsiteY179" fmla="*/ 2518543 h 13998542"/>
              <a:gd name="connsiteX180" fmla="*/ 7672535 w 11460104"/>
              <a:gd name="connsiteY180" fmla="*/ 2525980 h 13998542"/>
              <a:gd name="connsiteX181" fmla="*/ 7687359 w 11460104"/>
              <a:gd name="connsiteY181" fmla="*/ 2444182 h 13998542"/>
              <a:gd name="connsiteX182" fmla="*/ 7633993 w 11460104"/>
              <a:gd name="connsiteY182" fmla="*/ 2429309 h 13998542"/>
              <a:gd name="connsiteX183" fmla="*/ 7636957 w 11460104"/>
              <a:gd name="connsiteY183" fmla="*/ 2377255 h 13998542"/>
              <a:gd name="connsiteX184" fmla="*/ 7702183 w 11460104"/>
              <a:gd name="connsiteY184" fmla="*/ 2362382 h 13998542"/>
              <a:gd name="connsiteX185" fmla="*/ 7711355 w 11460104"/>
              <a:gd name="connsiteY185" fmla="*/ 2258856 h 13998542"/>
              <a:gd name="connsiteX186" fmla="*/ 7711384 w 11460104"/>
              <a:gd name="connsiteY186" fmla="*/ 2257790 h 13998542"/>
              <a:gd name="connsiteX187" fmla="*/ 7723796 w 11460104"/>
              <a:gd name="connsiteY187" fmla="*/ 2253969 h 13998542"/>
              <a:gd name="connsiteX188" fmla="*/ 7749619 w 11460104"/>
              <a:gd name="connsiteY188" fmla="*/ 2154168 h 13998542"/>
              <a:gd name="connsiteX189" fmla="*/ 7773337 w 11460104"/>
              <a:gd name="connsiteY189" fmla="*/ 2035188 h 13998542"/>
              <a:gd name="connsiteX190" fmla="*/ 7805950 w 11460104"/>
              <a:gd name="connsiteY190" fmla="*/ 1960826 h 13998542"/>
              <a:gd name="connsiteX191" fmla="*/ 7794090 w 11460104"/>
              <a:gd name="connsiteY191" fmla="*/ 1841846 h 13998542"/>
              <a:gd name="connsiteX192" fmla="*/ 7776302 w 11460104"/>
              <a:gd name="connsiteY192" fmla="*/ 1826973 h 13998542"/>
              <a:gd name="connsiteX193" fmla="*/ 7728865 w 11460104"/>
              <a:gd name="connsiteY193" fmla="*/ 1789792 h 13998542"/>
              <a:gd name="connsiteX194" fmla="*/ 7687359 w 11460104"/>
              <a:gd name="connsiteY194" fmla="*/ 1856719 h 13998542"/>
              <a:gd name="connsiteX195" fmla="*/ 7668459 w 11460104"/>
              <a:gd name="connsiteY195" fmla="*/ 1838128 h 13998542"/>
              <a:gd name="connsiteX196" fmla="*/ 7664016 w 11460104"/>
              <a:gd name="connsiteY196" fmla="*/ 1833510 h 13998542"/>
              <a:gd name="connsiteX197" fmla="*/ 7660676 w 11460104"/>
              <a:gd name="connsiteY197" fmla="*/ 1812101 h 13998542"/>
              <a:gd name="connsiteX198" fmla="*/ 7645296 w 11460104"/>
              <a:gd name="connsiteY198" fmla="*/ 1761442 h 13998542"/>
              <a:gd name="connsiteX199" fmla="*/ 7644997 w 11460104"/>
              <a:gd name="connsiteY199" fmla="*/ 1760012 h 13998542"/>
              <a:gd name="connsiteX200" fmla="*/ 7644069 w 11460104"/>
              <a:gd name="connsiteY200" fmla="*/ 1735357 h 13998542"/>
              <a:gd name="connsiteX201" fmla="*/ 7639922 w 11460104"/>
              <a:gd name="connsiteY201" fmla="*/ 1707994 h 13998542"/>
              <a:gd name="connsiteX202" fmla="*/ 7640038 w 11460104"/>
              <a:gd name="connsiteY202" fmla="*/ 1736287 h 13998542"/>
              <a:gd name="connsiteX203" fmla="*/ 7644997 w 11460104"/>
              <a:gd name="connsiteY203" fmla="*/ 1760012 h 13998542"/>
              <a:gd name="connsiteX204" fmla="*/ 7645297 w 11460104"/>
              <a:gd name="connsiteY204" fmla="*/ 1767949 h 13998542"/>
              <a:gd name="connsiteX205" fmla="*/ 7651781 w 11460104"/>
              <a:gd name="connsiteY205" fmla="*/ 1819537 h 13998542"/>
              <a:gd name="connsiteX206" fmla="*/ 7658174 w 11460104"/>
              <a:gd name="connsiteY206" fmla="*/ 1827438 h 13998542"/>
              <a:gd name="connsiteX207" fmla="*/ 7664016 w 11460104"/>
              <a:gd name="connsiteY207" fmla="*/ 1833510 h 13998542"/>
              <a:gd name="connsiteX208" fmla="*/ 7665679 w 11460104"/>
              <a:gd name="connsiteY208" fmla="*/ 1844169 h 13998542"/>
              <a:gd name="connsiteX209" fmla="*/ 7669570 w 11460104"/>
              <a:gd name="connsiteY209" fmla="*/ 1879027 h 13998542"/>
              <a:gd name="connsiteX210" fmla="*/ 7678464 w 11460104"/>
              <a:gd name="connsiteY210" fmla="*/ 1886463 h 13998542"/>
              <a:gd name="connsiteX211" fmla="*/ 7681429 w 11460104"/>
              <a:gd name="connsiteY211" fmla="*/ 1908772 h 13998542"/>
              <a:gd name="connsiteX212" fmla="*/ 7687358 w 11460104"/>
              <a:gd name="connsiteY212" fmla="*/ 1945953 h 13998542"/>
              <a:gd name="connsiteX213" fmla="*/ 7675500 w 11460104"/>
              <a:gd name="connsiteY213" fmla="*/ 1923645 h 13998542"/>
              <a:gd name="connsiteX214" fmla="*/ 7651781 w 11460104"/>
              <a:gd name="connsiteY214" fmla="*/ 1931081 h 13998542"/>
              <a:gd name="connsiteX215" fmla="*/ 7628063 w 11460104"/>
              <a:gd name="connsiteY215" fmla="*/ 1871591 h 13998542"/>
              <a:gd name="connsiteX216" fmla="*/ 7622134 w 11460104"/>
              <a:gd name="connsiteY216" fmla="*/ 1916209 h 13998542"/>
              <a:gd name="connsiteX217" fmla="*/ 7604345 w 11460104"/>
              <a:gd name="connsiteY217" fmla="*/ 2027752 h 13998542"/>
              <a:gd name="connsiteX218" fmla="*/ 7586557 w 11460104"/>
              <a:gd name="connsiteY218" fmla="*/ 2057497 h 13998542"/>
              <a:gd name="connsiteX219" fmla="*/ 7562838 w 11460104"/>
              <a:gd name="connsiteY219" fmla="*/ 2191349 h 13998542"/>
              <a:gd name="connsiteX220" fmla="*/ 7550979 w 11460104"/>
              <a:gd name="connsiteY220" fmla="*/ 2258275 h 13998542"/>
              <a:gd name="connsiteX221" fmla="*/ 7539121 w 11460104"/>
              <a:gd name="connsiteY221" fmla="*/ 2206221 h 13998542"/>
              <a:gd name="connsiteX222" fmla="*/ 7559873 w 11460104"/>
              <a:gd name="connsiteY222" fmla="*/ 2072370 h 13998542"/>
              <a:gd name="connsiteX223" fmla="*/ 7592486 w 11460104"/>
              <a:gd name="connsiteY223" fmla="*/ 1998007 h 13998542"/>
              <a:gd name="connsiteX224" fmla="*/ 7580627 w 11460104"/>
              <a:gd name="connsiteY224" fmla="*/ 1722866 h 13998542"/>
              <a:gd name="connsiteX225" fmla="*/ 7562838 w 11460104"/>
              <a:gd name="connsiteY225" fmla="*/ 1752611 h 13998542"/>
              <a:gd name="connsiteX226" fmla="*/ 7539120 w 11460104"/>
              <a:gd name="connsiteY226" fmla="*/ 1871591 h 13998542"/>
              <a:gd name="connsiteX227" fmla="*/ 7509473 w 11460104"/>
              <a:gd name="connsiteY227" fmla="*/ 1879027 h 13998542"/>
              <a:gd name="connsiteX228" fmla="*/ 7482790 w 11460104"/>
              <a:gd name="connsiteY228" fmla="*/ 1923645 h 13998542"/>
              <a:gd name="connsiteX229" fmla="*/ 7485754 w 11460104"/>
              <a:gd name="connsiteY229" fmla="*/ 1871591 h 13998542"/>
              <a:gd name="connsiteX230" fmla="*/ 7515402 w 11460104"/>
              <a:gd name="connsiteY230" fmla="*/ 1745175 h 13998542"/>
              <a:gd name="connsiteX231" fmla="*/ 7450177 w 11460104"/>
              <a:gd name="connsiteY231" fmla="*/ 1730302 h 13998542"/>
              <a:gd name="connsiteX232" fmla="*/ 7361234 w 11460104"/>
              <a:gd name="connsiteY232" fmla="*/ 1834410 h 13998542"/>
              <a:gd name="connsiteX233" fmla="*/ 7340481 w 11460104"/>
              <a:gd name="connsiteY233" fmla="*/ 1834410 h 13998542"/>
              <a:gd name="connsiteX234" fmla="*/ 7364199 w 11460104"/>
              <a:gd name="connsiteY234" fmla="*/ 1722866 h 13998542"/>
              <a:gd name="connsiteX235" fmla="*/ 7390882 w 11460104"/>
              <a:gd name="connsiteY235" fmla="*/ 1700557 h 13998542"/>
              <a:gd name="connsiteX236" fmla="*/ 7399776 w 11460104"/>
              <a:gd name="connsiteY236" fmla="*/ 1685685 h 13998542"/>
              <a:gd name="connsiteX237" fmla="*/ 7417565 w 11460104"/>
              <a:gd name="connsiteY237" fmla="*/ 1670812 h 13998542"/>
              <a:gd name="connsiteX238" fmla="*/ 7506508 w 11460104"/>
              <a:gd name="connsiteY238" fmla="*/ 1678249 h 13998542"/>
              <a:gd name="connsiteX239" fmla="*/ 7524296 w 11460104"/>
              <a:gd name="connsiteY239" fmla="*/ 1648504 h 13998542"/>
              <a:gd name="connsiteX240" fmla="*/ 7542085 w 11460104"/>
              <a:gd name="connsiteY240" fmla="*/ 1633632 h 13998542"/>
              <a:gd name="connsiteX241" fmla="*/ 7571733 w 11460104"/>
              <a:gd name="connsiteY241" fmla="*/ 1566705 h 13998542"/>
              <a:gd name="connsiteX242" fmla="*/ 7583592 w 11460104"/>
              <a:gd name="connsiteY242" fmla="*/ 1559269 h 13998542"/>
              <a:gd name="connsiteX243" fmla="*/ 7586556 w 11460104"/>
              <a:gd name="connsiteY243" fmla="*/ 1447726 h 13998542"/>
              <a:gd name="connsiteX244" fmla="*/ 7556909 w 11460104"/>
              <a:gd name="connsiteY244" fmla="*/ 1403109 h 13998542"/>
              <a:gd name="connsiteX245" fmla="*/ 7545050 w 11460104"/>
              <a:gd name="connsiteY245" fmla="*/ 1380799 h 13998542"/>
              <a:gd name="connsiteX246" fmla="*/ 7521332 w 11460104"/>
              <a:gd name="connsiteY246" fmla="*/ 1373364 h 13998542"/>
              <a:gd name="connsiteX247" fmla="*/ 7503543 w 11460104"/>
              <a:gd name="connsiteY247" fmla="*/ 1395672 h 13998542"/>
              <a:gd name="connsiteX248" fmla="*/ 7506508 w 11460104"/>
              <a:gd name="connsiteY248" fmla="*/ 1358491 h 13998542"/>
              <a:gd name="connsiteX249" fmla="*/ 7509472 w 11460104"/>
              <a:gd name="connsiteY249" fmla="*/ 1276692 h 13998542"/>
              <a:gd name="connsiteX250" fmla="*/ 7456107 w 11460104"/>
              <a:gd name="connsiteY250" fmla="*/ 1284128 h 13998542"/>
              <a:gd name="connsiteX251" fmla="*/ 7379023 w 11460104"/>
              <a:gd name="connsiteY251" fmla="*/ 1336182 h 13998542"/>
              <a:gd name="connsiteX252" fmla="*/ 7325657 w 11460104"/>
              <a:gd name="connsiteY252" fmla="*/ 1462598 h 13998542"/>
              <a:gd name="connsiteX253" fmla="*/ 7314817 w 11460104"/>
              <a:gd name="connsiteY253" fmla="*/ 1362209 h 13998542"/>
              <a:gd name="connsiteX254" fmla="*/ 7294049 w 11460104"/>
              <a:gd name="connsiteY254" fmla="*/ 1344476 h 13998542"/>
              <a:gd name="connsiteX255" fmla="*/ 7298974 w 11460104"/>
              <a:gd name="connsiteY255" fmla="*/ 1328746 h 13998542"/>
              <a:gd name="connsiteX256" fmla="*/ 7376058 w 11460104"/>
              <a:gd name="connsiteY256" fmla="*/ 1246947 h 13998542"/>
              <a:gd name="connsiteX257" fmla="*/ 7453142 w 11460104"/>
              <a:gd name="connsiteY257" fmla="*/ 1232074 h 13998542"/>
              <a:gd name="connsiteX258" fmla="*/ 7491684 w 11460104"/>
              <a:gd name="connsiteY258" fmla="*/ 1165148 h 13998542"/>
              <a:gd name="connsiteX259" fmla="*/ 7476860 w 11460104"/>
              <a:gd name="connsiteY259" fmla="*/ 1127967 h 13998542"/>
              <a:gd name="connsiteX260" fmla="*/ 7393847 w 11460104"/>
              <a:gd name="connsiteY260" fmla="*/ 1031296 h 13998542"/>
              <a:gd name="connsiteX261" fmla="*/ 7358269 w 11460104"/>
              <a:gd name="connsiteY261" fmla="*/ 1023860 h 13998542"/>
              <a:gd name="connsiteX262" fmla="*/ 7263397 w 11460104"/>
              <a:gd name="connsiteY262" fmla="*/ 1068478 h 13998542"/>
              <a:gd name="connsiteX263" fmla="*/ 7204101 w 11460104"/>
              <a:gd name="connsiteY263" fmla="*/ 1135404 h 13998542"/>
              <a:gd name="connsiteX264" fmla="*/ 7168525 w 11460104"/>
              <a:gd name="connsiteY264" fmla="*/ 1165149 h 13998542"/>
              <a:gd name="connsiteX265" fmla="*/ 7141842 w 11460104"/>
              <a:gd name="connsiteY265" fmla="*/ 1172585 h 13998542"/>
              <a:gd name="connsiteX266" fmla="*/ 7138877 w 11460104"/>
              <a:gd name="connsiteY266" fmla="*/ 1194894 h 13998542"/>
              <a:gd name="connsiteX267" fmla="*/ 7100335 w 11460104"/>
              <a:gd name="connsiteY267" fmla="*/ 1209766 h 13998542"/>
              <a:gd name="connsiteX268" fmla="*/ 7106264 w 11460104"/>
              <a:gd name="connsiteY268" fmla="*/ 1254383 h 13998542"/>
              <a:gd name="connsiteX269" fmla="*/ 7097370 w 11460104"/>
              <a:gd name="connsiteY269" fmla="*/ 1246947 h 13998542"/>
              <a:gd name="connsiteX270" fmla="*/ 7067722 w 11460104"/>
              <a:gd name="connsiteY270" fmla="*/ 1284128 h 13998542"/>
              <a:gd name="connsiteX271" fmla="*/ 7097370 w 11460104"/>
              <a:gd name="connsiteY271" fmla="*/ 1358491 h 13998542"/>
              <a:gd name="connsiteX272" fmla="*/ 7141842 w 11460104"/>
              <a:gd name="connsiteY272" fmla="*/ 1380800 h 13998542"/>
              <a:gd name="connsiteX273" fmla="*/ 7148489 w 11460104"/>
              <a:gd name="connsiteY273" fmla="*/ 1395324 h 13998542"/>
              <a:gd name="connsiteX274" fmla="*/ 7149305 w 11460104"/>
              <a:gd name="connsiteY274" fmla="*/ 1397081 h 13998542"/>
              <a:gd name="connsiteX275" fmla="*/ 7148698 w 11460104"/>
              <a:gd name="connsiteY275" fmla="*/ 1396601 h 13998542"/>
              <a:gd name="connsiteX276" fmla="*/ 7132947 w 11460104"/>
              <a:gd name="connsiteY276" fmla="*/ 1388235 h 13998542"/>
              <a:gd name="connsiteX277" fmla="*/ 7138877 w 11460104"/>
              <a:gd name="connsiteY277" fmla="*/ 1432853 h 13998542"/>
              <a:gd name="connsiteX278" fmla="*/ 7144766 w 11460104"/>
              <a:gd name="connsiteY278" fmla="*/ 1451195 h 13998542"/>
              <a:gd name="connsiteX279" fmla="*/ 7129982 w 11460104"/>
              <a:gd name="connsiteY279" fmla="*/ 1432854 h 13998542"/>
              <a:gd name="connsiteX280" fmla="*/ 7061793 w 11460104"/>
              <a:gd name="connsiteY280" fmla="*/ 1432853 h 13998542"/>
              <a:gd name="connsiteX281" fmla="*/ 7067722 w 11460104"/>
              <a:gd name="connsiteY281" fmla="*/ 1477471 h 13998542"/>
              <a:gd name="connsiteX282" fmla="*/ 7082546 w 11460104"/>
              <a:gd name="connsiteY282" fmla="*/ 1544397 h 13998542"/>
              <a:gd name="connsiteX283" fmla="*/ 7106264 w 11460104"/>
              <a:gd name="connsiteY283" fmla="*/ 1633631 h 13998542"/>
              <a:gd name="connsiteX284" fmla="*/ 7064758 w 11460104"/>
              <a:gd name="connsiteY284" fmla="*/ 1470034 h 13998542"/>
              <a:gd name="connsiteX285" fmla="*/ 7035110 w 11460104"/>
              <a:gd name="connsiteY285" fmla="*/ 1447725 h 13998542"/>
              <a:gd name="connsiteX286" fmla="*/ 7029180 w 11460104"/>
              <a:gd name="connsiteY286" fmla="*/ 1559269 h 13998542"/>
              <a:gd name="connsiteX287" fmla="*/ 7067722 w 11460104"/>
              <a:gd name="connsiteY287" fmla="*/ 1670813 h 13998542"/>
              <a:gd name="connsiteX288" fmla="*/ 7091440 w 11460104"/>
              <a:gd name="connsiteY288" fmla="*/ 1812101 h 13998542"/>
              <a:gd name="connsiteX289" fmla="*/ 7049934 w 11460104"/>
              <a:gd name="connsiteY289" fmla="*/ 1700557 h 13998542"/>
              <a:gd name="connsiteX290" fmla="*/ 7017322 w 11460104"/>
              <a:gd name="connsiteY290" fmla="*/ 1633631 h 13998542"/>
              <a:gd name="connsiteX291" fmla="*/ 6999533 w 11460104"/>
              <a:gd name="connsiteY291" fmla="*/ 1574141 h 13998542"/>
              <a:gd name="connsiteX292" fmla="*/ 6952096 w 11460104"/>
              <a:gd name="connsiteY292" fmla="*/ 1536960 h 13998542"/>
              <a:gd name="connsiteX293" fmla="*/ 6949132 w 11460104"/>
              <a:gd name="connsiteY293" fmla="*/ 1589014 h 13998542"/>
              <a:gd name="connsiteX294" fmla="*/ 6960991 w 11460104"/>
              <a:gd name="connsiteY294" fmla="*/ 1685685 h 13998542"/>
              <a:gd name="connsiteX295" fmla="*/ 6969885 w 11460104"/>
              <a:gd name="connsiteY295" fmla="*/ 1774920 h 13998542"/>
              <a:gd name="connsiteX296" fmla="*/ 6913554 w 11460104"/>
              <a:gd name="connsiteY296" fmla="*/ 1641068 h 13998542"/>
              <a:gd name="connsiteX297" fmla="*/ 6898730 w 11460104"/>
              <a:gd name="connsiteY297" fmla="*/ 1745175 h 13998542"/>
              <a:gd name="connsiteX298" fmla="*/ 6892801 w 11460104"/>
              <a:gd name="connsiteY298" fmla="*/ 1916209 h 13998542"/>
              <a:gd name="connsiteX299" fmla="*/ 6875012 w 11460104"/>
              <a:gd name="connsiteY299" fmla="*/ 1626195 h 13998542"/>
              <a:gd name="connsiteX300" fmla="*/ 6842400 w 11460104"/>
              <a:gd name="connsiteY300" fmla="*/ 1648504 h 13998542"/>
              <a:gd name="connsiteX301" fmla="*/ 6806822 w 11460104"/>
              <a:gd name="connsiteY301" fmla="*/ 1693121 h 13998542"/>
              <a:gd name="connsiteX302" fmla="*/ 6771246 w 11460104"/>
              <a:gd name="connsiteY302" fmla="*/ 1702882 h 13998542"/>
              <a:gd name="connsiteX303" fmla="*/ 6429600 w 11460104"/>
              <a:gd name="connsiteY303" fmla="*/ 2385285 h 13998542"/>
              <a:gd name="connsiteX304" fmla="*/ 6440541 w 11460104"/>
              <a:gd name="connsiteY304" fmla="*/ 2374984 h 13998542"/>
              <a:gd name="connsiteX305" fmla="*/ 6449984 w 11460104"/>
              <a:gd name="connsiteY305" fmla="*/ 2378808 h 13998542"/>
              <a:gd name="connsiteX306" fmla="*/ 6450166 w 11460104"/>
              <a:gd name="connsiteY306" fmla="*/ 2389000 h 13998542"/>
              <a:gd name="connsiteX307" fmla="*/ 6448030 w 11460104"/>
              <a:gd name="connsiteY307" fmla="*/ 2389662 h 13998542"/>
              <a:gd name="connsiteX308" fmla="*/ 6391631 w 11460104"/>
              <a:gd name="connsiteY308" fmla="*/ 2378808 h 13998542"/>
              <a:gd name="connsiteX309" fmla="*/ 6421540 w 11460104"/>
              <a:gd name="connsiteY309" fmla="*/ 2383371 h 13998542"/>
              <a:gd name="connsiteX310" fmla="*/ 6429600 w 11460104"/>
              <a:gd name="connsiteY310" fmla="*/ 2385285 h 13998542"/>
              <a:gd name="connsiteX311" fmla="*/ 6429143 w 11460104"/>
              <a:gd name="connsiteY311" fmla="*/ 2385715 h 13998542"/>
              <a:gd name="connsiteX312" fmla="*/ 6408303 w 11460104"/>
              <a:gd name="connsiteY312" fmla="*/ 2394596 h 13998542"/>
              <a:gd name="connsiteX313" fmla="*/ 6383295 w 11460104"/>
              <a:gd name="connsiteY313" fmla="*/ 2410383 h 13998542"/>
              <a:gd name="connsiteX314" fmla="*/ 6391631 w 11460104"/>
              <a:gd name="connsiteY314" fmla="*/ 2378808 h 13998542"/>
              <a:gd name="connsiteX315" fmla="*/ 5612320 w 11460104"/>
              <a:gd name="connsiteY315" fmla="*/ 3190293 h 13998542"/>
              <a:gd name="connsiteX316" fmla="*/ 5617631 w 11460104"/>
              <a:gd name="connsiteY316" fmla="*/ 3186685 h 13998542"/>
              <a:gd name="connsiteX317" fmla="*/ 5623735 w 11460104"/>
              <a:gd name="connsiteY317" fmla="*/ 3185921 h 13998542"/>
              <a:gd name="connsiteX318" fmla="*/ 5633691 w 11460104"/>
              <a:gd name="connsiteY318" fmla="*/ 3240338 h 13998542"/>
              <a:gd name="connsiteX319" fmla="*/ 5633701 w 11460104"/>
              <a:gd name="connsiteY319" fmla="*/ 3240399 h 13998542"/>
              <a:gd name="connsiteX320" fmla="*/ 5622614 w 11460104"/>
              <a:gd name="connsiteY320" fmla="*/ 3215547 h 13998542"/>
              <a:gd name="connsiteX321" fmla="*/ 5612320 w 11460104"/>
              <a:gd name="connsiteY321" fmla="*/ 3190293 h 13998542"/>
              <a:gd name="connsiteX322" fmla="*/ 5615395 w 11460104"/>
              <a:gd name="connsiteY322" fmla="*/ 3117689 h 13998542"/>
              <a:gd name="connsiteX323" fmla="*/ 5629126 w 11460104"/>
              <a:gd name="connsiteY323" fmla="*/ 3143845 h 13998542"/>
              <a:gd name="connsiteX324" fmla="*/ 5639286 w 11460104"/>
              <a:gd name="connsiteY324" fmla="*/ 3183972 h 13998542"/>
              <a:gd name="connsiteX325" fmla="*/ 5623735 w 11460104"/>
              <a:gd name="connsiteY325" fmla="*/ 3185921 h 13998542"/>
              <a:gd name="connsiteX326" fmla="*/ 5622651 w 11460104"/>
              <a:gd name="connsiteY326" fmla="*/ 3179996 h 13998542"/>
              <a:gd name="connsiteX327" fmla="*/ 5607781 w 11460104"/>
              <a:gd name="connsiteY327" fmla="*/ 3085753 h 13998542"/>
              <a:gd name="connsiteX328" fmla="*/ 5617013 w 11460104"/>
              <a:gd name="connsiteY328" fmla="*/ 3079050 h 13998542"/>
              <a:gd name="connsiteX329" fmla="*/ 5630254 w 11460104"/>
              <a:gd name="connsiteY329" fmla="*/ 3078855 h 13998542"/>
              <a:gd name="connsiteX330" fmla="*/ 5630254 w 11460104"/>
              <a:gd name="connsiteY330" fmla="*/ 3078880 h 13998542"/>
              <a:gd name="connsiteX331" fmla="*/ 5629945 w 11460104"/>
              <a:gd name="connsiteY331" fmla="*/ 3097200 h 13998542"/>
              <a:gd name="connsiteX332" fmla="*/ 5615328 w 11460104"/>
              <a:gd name="connsiteY332" fmla="*/ 3117115 h 13998542"/>
              <a:gd name="connsiteX333" fmla="*/ 5615395 w 11460104"/>
              <a:gd name="connsiteY333" fmla="*/ 3117689 h 13998542"/>
              <a:gd name="connsiteX334" fmla="*/ 5614277 w 11460104"/>
              <a:gd name="connsiteY334" fmla="*/ 3115560 h 13998542"/>
              <a:gd name="connsiteX335" fmla="*/ 5601773 w 11460104"/>
              <a:gd name="connsiteY335" fmla="*/ 3105034 h 13998542"/>
              <a:gd name="connsiteX336" fmla="*/ 5607781 w 11460104"/>
              <a:gd name="connsiteY336" fmla="*/ 3085753 h 13998542"/>
              <a:gd name="connsiteX337" fmla="*/ 5629489 w 11460104"/>
              <a:gd name="connsiteY337" fmla="*/ 3018095 h 13998542"/>
              <a:gd name="connsiteX338" fmla="*/ 5629729 w 11460104"/>
              <a:gd name="connsiteY338" fmla="*/ 3017668 h 13998542"/>
              <a:gd name="connsiteX339" fmla="*/ 5637202 w 11460104"/>
              <a:gd name="connsiteY339" fmla="*/ 3005047 h 13998542"/>
              <a:gd name="connsiteX340" fmla="*/ 5666379 w 11460104"/>
              <a:gd name="connsiteY340" fmla="*/ 2999784 h 13998542"/>
              <a:gd name="connsiteX341" fmla="*/ 5670547 w 11460104"/>
              <a:gd name="connsiteY341" fmla="*/ 3031359 h 13998542"/>
              <a:gd name="connsiteX342" fmla="*/ 5664295 w 11460104"/>
              <a:gd name="connsiteY342" fmla="*/ 3062934 h 13998542"/>
              <a:gd name="connsiteX343" fmla="*/ 5639286 w 11460104"/>
              <a:gd name="connsiteY343" fmla="*/ 3078722 h 13998542"/>
              <a:gd name="connsiteX344" fmla="*/ 5630254 w 11460104"/>
              <a:gd name="connsiteY344" fmla="*/ 3078855 h 13998542"/>
              <a:gd name="connsiteX345" fmla="*/ 5630934 w 11460104"/>
              <a:gd name="connsiteY345" fmla="*/ 3038577 h 13998542"/>
              <a:gd name="connsiteX346" fmla="*/ 5630836 w 11460104"/>
              <a:gd name="connsiteY346" fmla="*/ 2745596 h 13998542"/>
              <a:gd name="connsiteX347" fmla="*/ 5631725 w 11460104"/>
              <a:gd name="connsiteY347" fmla="*/ 2745354 h 13998542"/>
              <a:gd name="connsiteX348" fmla="*/ 5630780 w 11460104"/>
              <a:gd name="connsiteY348" fmla="*/ 2747699 h 13998542"/>
              <a:gd name="connsiteX349" fmla="*/ 5636193 w 11460104"/>
              <a:gd name="connsiteY349" fmla="*/ 2734274 h 13998542"/>
              <a:gd name="connsiteX350" fmla="*/ 5644496 w 11460104"/>
              <a:gd name="connsiteY350" fmla="*/ 2727449 h 13998542"/>
              <a:gd name="connsiteX351" fmla="*/ 5657153 w 11460104"/>
              <a:gd name="connsiteY351" fmla="*/ 2726688 h 13998542"/>
              <a:gd name="connsiteX352" fmla="*/ 5656818 w 11460104"/>
              <a:gd name="connsiteY352" fmla="*/ 2728437 h 13998542"/>
              <a:gd name="connsiteX353" fmla="*/ 5644907 w 11460104"/>
              <a:gd name="connsiteY353" fmla="*/ 2741770 h 13998542"/>
              <a:gd name="connsiteX354" fmla="*/ 5631725 w 11460104"/>
              <a:gd name="connsiteY354" fmla="*/ 2745354 h 13998542"/>
              <a:gd name="connsiteX355" fmla="*/ 5581974 w 11460104"/>
              <a:gd name="connsiteY355" fmla="*/ 2823490 h 13998542"/>
              <a:gd name="connsiteX356" fmla="*/ 5614277 w 11460104"/>
              <a:gd name="connsiteY356" fmla="*/ 2810333 h 13998542"/>
              <a:gd name="connsiteX357" fmla="*/ 5628866 w 11460104"/>
              <a:gd name="connsiteY357" fmla="*/ 2752446 h 13998542"/>
              <a:gd name="connsiteX358" fmla="*/ 5630780 w 11460104"/>
              <a:gd name="connsiteY358" fmla="*/ 2747699 h 13998542"/>
              <a:gd name="connsiteX359" fmla="*/ 5629960 w 11460104"/>
              <a:gd name="connsiteY359" fmla="*/ 2778428 h 13998542"/>
              <a:gd name="connsiteX360" fmla="*/ 5658091 w 11460104"/>
              <a:gd name="connsiteY360" fmla="*/ 2823012 h 13998542"/>
              <a:gd name="connsiteX361" fmla="*/ 5585657 w 11460104"/>
              <a:gd name="connsiteY361" fmla="*/ 2850951 h 13998542"/>
              <a:gd name="connsiteX362" fmla="*/ 5626369 w 11460104"/>
              <a:gd name="connsiteY362" fmla="*/ 2960568 h 13998542"/>
              <a:gd name="connsiteX363" fmla="*/ 5629461 w 11460104"/>
              <a:gd name="connsiteY363" fmla="*/ 3017710 h 13998542"/>
              <a:gd name="connsiteX364" fmla="*/ 5629489 w 11460104"/>
              <a:gd name="connsiteY364" fmla="*/ 3018095 h 13998542"/>
              <a:gd name="connsiteX365" fmla="*/ 5626651 w 11460104"/>
              <a:gd name="connsiteY365" fmla="*/ 3023136 h 13998542"/>
              <a:gd name="connsiteX366" fmla="*/ 5618446 w 11460104"/>
              <a:gd name="connsiteY366" fmla="*/ 3031359 h 13998542"/>
              <a:gd name="connsiteX367" fmla="*/ 5595521 w 11460104"/>
              <a:gd name="connsiteY367" fmla="*/ 3026097 h 13998542"/>
              <a:gd name="connsiteX368" fmla="*/ 5620529 w 11460104"/>
              <a:gd name="connsiteY368" fmla="*/ 3010309 h 13998542"/>
              <a:gd name="connsiteX369" fmla="*/ 5608025 w 11460104"/>
              <a:gd name="connsiteY369" fmla="*/ 2968209 h 13998542"/>
              <a:gd name="connsiteX370" fmla="*/ 5585101 w 11460104"/>
              <a:gd name="connsiteY370" fmla="*/ 2926109 h 13998542"/>
              <a:gd name="connsiteX371" fmla="*/ 5574680 w 11460104"/>
              <a:gd name="connsiteY371" fmla="*/ 2899796 h 13998542"/>
              <a:gd name="connsiteX372" fmla="*/ 5581974 w 11460104"/>
              <a:gd name="connsiteY372" fmla="*/ 2823490 h 13998542"/>
              <a:gd name="connsiteX373" fmla="*/ 6051901 w 11460104"/>
              <a:gd name="connsiteY373" fmla="*/ 1818173 h 13998542"/>
              <a:gd name="connsiteX374" fmla="*/ 6053622 w 11460104"/>
              <a:gd name="connsiteY374" fmla="*/ 1820324 h 13998542"/>
              <a:gd name="connsiteX375" fmla="*/ 6060266 w 11460104"/>
              <a:gd name="connsiteY375" fmla="*/ 1831506 h 13998542"/>
              <a:gd name="connsiteX376" fmla="*/ 6053085 w 11460104"/>
              <a:gd name="connsiteY376" fmla="*/ 1821886 h 13998542"/>
              <a:gd name="connsiteX377" fmla="*/ 6055092 w 11460104"/>
              <a:gd name="connsiteY377" fmla="*/ 1779878 h 13998542"/>
              <a:gd name="connsiteX378" fmla="*/ 6058393 w 11460104"/>
              <a:gd name="connsiteY378" fmla="*/ 1782499 h 13998542"/>
              <a:gd name="connsiteX379" fmla="*/ 6066518 w 11460104"/>
              <a:gd name="connsiteY379" fmla="*/ 1789406 h 13998542"/>
              <a:gd name="connsiteX380" fmla="*/ 6072770 w 11460104"/>
              <a:gd name="connsiteY380" fmla="*/ 1794669 h 13998542"/>
              <a:gd name="connsiteX381" fmla="*/ 6076938 w 11460104"/>
              <a:gd name="connsiteY381" fmla="*/ 1810456 h 13998542"/>
              <a:gd name="connsiteX382" fmla="*/ 6062219 w 11460104"/>
              <a:gd name="connsiteY382" fmla="*/ 1795326 h 13998542"/>
              <a:gd name="connsiteX383" fmla="*/ 5664564 w 11460104"/>
              <a:gd name="connsiteY383" fmla="*/ 1313854 h 13998542"/>
              <a:gd name="connsiteX384" fmla="*/ 5677467 w 11460104"/>
              <a:gd name="connsiteY384" fmla="*/ 1300772 h 13998542"/>
              <a:gd name="connsiteX385" fmla="*/ 5689015 w 11460104"/>
              <a:gd name="connsiteY385" fmla="*/ 1305200 h 13998542"/>
              <a:gd name="connsiteX386" fmla="*/ 5689613 w 11460104"/>
              <a:gd name="connsiteY386" fmla="*/ 1308860 h 13998542"/>
              <a:gd name="connsiteX387" fmla="*/ 5689606 w 11460104"/>
              <a:gd name="connsiteY387" fmla="*/ 1317781 h 13998542"/>
              <a:gd name="connsiteX388" fmla="*/ 5687002 w 11460104"/>
              <a:gd name="connsiteY388" fmla="*/ 1318681 h 13998542"/>
              <a:gd name="connsiteX389" fmla="*/ 5618421 w 11460104"/>
              <a:gd name="connsiteY389" fmla="*/ 1307047 h 13998542"/>
              <a:gd name="connsiteX390" fmla="*/ 5654752 w 11460104"/>
              <a:gd name="connsiteY390" fmla="*/ 1311743 h 13998542"/>
              <a:gd name="connsiteX391" fmla="*/ 5664564 w 11460104"/>
              <a:gd name="connsiteY391" fmla="*/ 1313854 h 13998542"/>
              <a:gd name="connsiteX392" fmla="*/ 5664026 w 11460104"/>
              <a:gd name="connsiteY392" fmla="*/ 1314400 h 13998542"/>
              <a:gd name="connsiteX393" fmla="*/ 5639101 w 11460104"/>
              <a:gd name="connsiteY393" fmla="*/ 1326039 h 13998542"/>
              <a:gd name="connsiteX394" fmla="*/ 5609357 w 11460104"/>
              <a:gd name="connsiteY394" fmla="*/ 1346349 h 13998542"/>
              <a:gd name="connsiteX395" fmla="*/ 5618421 w 11460104"/>
              <a:gd name="connsiteY395" fmla="*/ 1307047 h 13998542"/>
              <a:gd name="connsiteX396" fmla="*/ 5312922 w 11460104"/>
              <a:gd name="connsiteY396" fmla="*/ 527242 h 13998542"/>
              <a:gd name="connsiteX397" fmla="*/ 5313796 w 11460104"/>
              <a:gd name="connsiteY397" fmla="*/ 527970 h 13998542"/>
              <a:gd name="connsiteX398" fmla="*/ 5313411 w 11460104"/>
              <a:gd name="connsiteY398" fmla="*/ 529367 h 13998542"/>
              <a:gd name="connsiteX399" fmla="*/ 5311215 w 11460104"/>
              <a:gd name="connsiteY399" fmla="*/ 533432 h 13998542"/>
              <a:gd name="connsiteX400" fmla="*/ 5295784 w 11460104"/>
              <a:gd name="connsiteY400" fmla="*/ 547224 h 13998542"/>
              <a:gd name="connsiteX401" fmla="*/ 5308786 w 11460104"/>
              <a:gd name="connsiteY401" fmla="*/ 537931 h 13998542"/>
              <a:gd name="connsiteX402" fmla="*/ 5311215 w 11460104"/>
              <a:gd name="connsiteY402" fmla="*/ 533432 h 13998542"/>
              <a:gd name="connsiteX403" fmla="*/ 5308133 w 11460104"/>
              <a:gd name="connsiteY403" fmla="*/ 544611 h 13998542"/>
              <a:gd name="connsiteX404" fmla="*/ 5295784 w 11460104"/>
              <a:gd name="connsiteY404" fmla="*/ 547224 h 13998542"/>
              <a:gd name="connsiteX405" fmla="*/ 5189290 w 11460104"/>
              <a:gd name="connsiteY405" fmla="*/ 624665 h 13998542"/>
              <a:gd name="connsiteX406" fmla="*/ 5191442 w 11460104"/>
              <a:gd name="connsiteY406" fmla="*/ 627269 h 13998542"/>
              <a:gd name="connsiteX407" fmla="*/ 5199840 w 11460104"/>
              <a:gd name="connsiteY407" fmla="*/ 640885 h 13998542"/>
              <a:gd name="connsiteX408" fmla="*/ 5190842 w 11460104"/>
              <a:gd name="connsiteY408" fmla="*/ 629217 h 13998542"/>
              <a:gd name="connsiteX409" fmla="*/ 5191911 w 11460104"/>
              <a:gd name="connsiteY409" fmla="*/ 577218 h 13998542"/>
              <a:gd name="connsiteX410" fmla="*/ 5195989 w 11460104"/>
              <a:gd name="connsiteY410" fmla="*/ 580353 h 13998542"/>
              <a:gd name="connsiteX411" fmla="*/ 5206041 w 11460104"/>
              <a:gd name="connsiteY411" fmla="*/ 588636 h 13998542"/>
              <a:gd name="connsiteX412" fmla="*/ 5213775 w 11460104"/>
              <a:gd name="connsiteY412" fmla="*/ 594944 h 13998542"/>
              <a:gd name="connsiteX413" fmla="*/ 5219328 w 11460104"/>
              <a:gd name="connsiteY413" fmla="*/ 614332 h 13998542"/>
              <a:gd name="connsiteX414" fmla="*/ 5201033 w 11460104"/>
              <a:gd name="connsiteY414" fmla="*/ 596091 h 13998542"/>
              <a:gd name="connsiteX415" fmla="*/ 4877413 w 11460104"/>
              <a:gd name="connsiteY415" fmla="*/ 853189 h 13998542"/>
              <a:gd name="connsiteX416" fmla="*/ 4878722 w 11460104"/>
              <a:gd name="connsiteY416" fmla="*/ 903206 h 13998542"/>
              <a:gd name="connsiteX417" fmla="*/ 4926350 w 11460104"/>
              <a:gd name="connsiteY417" fmla="*/ 1084260 h 13998542"/>
              <a:gd name="connsiteX418" fmla="*/ 4890339 w 11460104"/>
              <a:gd name="connsiteY418" fmla="*/ 961499 h 13998542"/>
              <a:gd name="connsiteX419" fmla="*/ 4851839 w 11460104"/>
              <a:gd name="connsiteY419" fmla="*/ 936464 h 13998542"/>
              <a:gd name="connsiteX420" fmla="*/ 4842671 w 11460104"/>
              <a:gd name="connsiteY420" fmla="*/ 1164580 h 13998542"/>
              <a:gd name="connsiteX421" fmla="*/ 4810406 w 11460104"/>
              <a:gd name="connsiteY421" fmla="*/ 1184956 h 13998542"/>
              <a:gd name="connsiteX422" fmla="*/ 4812449 w 11460104"/>
              <a:gd name="connsiteY422" fmla="*/ 1263032 h 13998542"/>
              <a:gd name="connsiteX423" fmla="*/ 4788737 w 11460104"/>
              <a:gd name="connsiteY423" fmla="*/ 1224588 h 13998542"/>
              <a:gd name="connsiteX424" fmla="*/ 4763387 w 11460104"/>
              <a:gd name="connsiteY424" fmla="*/ 1316401 h 13998542"/>
              <a:gd name="connsiteX425" fmla="*/ 4740388 w 11460104"/>
              <a:gd name="connsiteY425" fmla="*/ 1401642 h 13998542"/>
              <a:gd name="connsiteX426" fmla="*/ 4742432 w 11460104"/>
              <a:gd name="connsiteY426" fmla="*/ 1479718 h 13998542"/>
              <a:gd name="connsiteX427" fmla="*/ 4758240 w 11460104"/>
              <a:gd name="connsiteY427" fmla="*/ 1505347 h 13998542"/>
              <a:gd name="connsiteX428" fmla="*/ 4776059 w 11460104"/>
              <a:gd name="connsiteY428" fmla="*/ 1511391 h 13998542"/>
              <a:gd name="connsiteX429" fmla="*/ 4795547 w 11460104"/>
              <a:gd name="connsiteY429" fmla="*/ 1484839 h 13998542"/>
              <a:gd name="connsiteX430" fmla="*/ 4784984 w 11460104"/>
              <a:gd name="connsiteY430" fmla="*/ 1563244 h 13998542"/>
              <a:gd name="connsiteX431" fmla="*/ 4773943 w 11460104"/>
              <a:gd name="connsiteY431" fmla="*/ 1719791 h 13998542"/>
              <a:gd name="connsiteX432" fmla="*/ 4773249 w 11460104"/>
              <a:gd name="connsiteY432" fmla="*/ 1693255 h 13998542"/>
              <a:gd name="connsiteX433" fmla="*/ 4773366 w 11460104"/>
              <a:gd name="connsiteY433" fmla="*/ 1691729 h 13998542"/>
              <a:gd name="connsiteX434" fmla="*/ 4772581 w 11460104"/>
              <a:gd name="connsiteY434" fmla="*/ 1667741 h 13998542"/>
              <a:gd name="connsiteX435" fmla="*/ 4773249 w 11460104"/>
              <a:gd name="connsiteY435" fmla="*/ 1693255 h 13998542"/>
              <a:gd name="connsiteX436" fmla="*/ 4772851 w 11460104"/>
              <a:gd name="connsiteY436" fmla="*/ 1698405 h 13998542"/>
              <a:gd name="connsiteX437" fmla="*/ 4771252 w 11460104"/>
              <a:gd name="connsiteY437" fmla="*/ 1713350 h 13998542"/>
              <a:gd name="connsiteX438" fmla="*/ 4752274 w 11460104"/>
              <a:gd name="connsiteY438" fmla="*/ 1759423 h 13998542"/>
              <a:gd name="connsiteX439" fmla="*/ 4707743 w 11460104"/>
              <a:gd name="connsiteY439" fmla="*/ 1793141 h 13998542"/>
              <a:gd name="connsiteX440" fmla="*/ 4691967 w 11460104"/>
              <a:gd name="connsiteY440" fmla="*/ 1865172 h 13998542"/>
              <a:gd name="connsiteX441" fmla="*/ 4646959 w 11460104"/>
              <a:gd name="connsiteY441" fmla="*/ 1977032 h 13998542"/>
              <a:gd name="connsiteX442" fmla="*/ 4660416 w 11460104"/>
              <a:gd name="connsiteY442" fmla="*/ 2009234 h 13998542"/>
              <a:gd name="connsiteX443" fmla="*/ 4689512 w 11460104"/>
              <a:gd name="connsiteY443" fmla="*/ 2060559 h 13998542"/>
              <a:gd name="connsiteX444" fmla="*/ 4706001 w 11460104"/>
              <a:gd name="connsiteY444" fmla="*/ 2112213 h 13998542"/>
              <a:gd name="connsiteX445" fmla="*/ 4676257 w 11460104"/>
              <a:gd name="connsiteY445" fmla="*/ 2132524 h 13998542"/>
              <a:gd name="connsiteX446" fmla="*/ 4704161 w 11460104"/>
              <a:gd name="connsiteY446" fmla="*/ 2138305 h 13998542"/>
              <a:gd name="connsiteX447" fmla="*/ 4726001 w 11460104"/>
              <a:gd name="connsiteY447" fmla="*/ 2105179 h 13998542"/>
              <a:gd name="connsiteX448" fmla="*/ 4761127 w 11460104"/>
              <a:gd name="connsiteY448" fmla="*/ 2097749 h 13998542"/>
              <a:gd name="connsiteX449" fmla="*/ 4767191 w 11460104"/>
              <a:gd name="connsiteY449" fmla="*/ 2136655 h 13998542"/>
              <a:gd name="connsiteX450" fmla="*/ 4760649 w 11460104"/>
              <a:gd name="connsiteY450" fmla="*/ 2175891 h 13998542"/>
              <a:gd name="connsiteX451" fmla="*/ 4730905 w 11460104"/>
              <a:gd name="connsiteY451" fmla="*/ 2196201 h 13998542"/>
              <a:gd name="connsiteX452" fmla="*/ 4686374 w 11460104"/>
              <a:gd name="connsiteY452" fmla="*/ 2229920 h 13998542"/>
              <a:gd name="connsiteX453" fmla="*/ 4701843 w 11460104"/>
              <a:gd name="connsiteY453" fmla="*/ 2242536 h 13998542"/>
              <a:gd name="connsiteX454" fmla="*/ 4734311 w 11460104"/>
              <a:gd name="connsiteY454" fmla="*/ 2326327 h 13998542"/>
              <a:gd name="connsiteX455" fmla="*/ 4715162 w 11460104"/>
              <a:gd name="connsiteY455" fmla="*/ 2365892 h 13998542"/>
              <a:gd name="connsiteX456" fmla="*/ 4742247 w 11460104"/>
              <a:gd name="connsiteY456" fmla="*/ 2436802 h 13998542"/>
              <a:gd name="connsiteX457" fmla="*/ 4769981 w 11460104"/>
              <a:gd name="connsiteY457" fmla="*/ 2436076 h 13998542"/>
              <a:gd name="connsiteX458" fmla="*/ 4842074 w 11460104"/>
              <a:gd name="connsiteY458" fmla="*/ 2395125 h 13998542"/>
              <a:gd name="connsiteX459" fmla="*/ 4904627 w 11460104"/>
              <a:gd name="connsiteY459" fmla="*/ 2471617 h 13998542"/>
              <a:gd name="connsiteX460" fmla="*/ 4920435 w 11460104"/>
              <a:gd name="connsiteY460" fmla="*/ 2497246 h 13998542"/>
              <a:gd name="connsiteX461" fmla="*/ 4924829 w 11460104"/>
              <a:gd name="connsiteY461" fmla="*/ 2568750 h 13998542"/>
              <a:gd name="connsiteX462" fmla="*/ 4930893 w 11460104"/>
              <a:gd name="connsiteY462" fmla="*/ 2607655 h 13998542"/>
              <a:gd name="connsiteX463" fmla="*/ 4953617 w 11460104"/>
              <a:gd name="connsiteY463" fmla="*/ 2704722 h 13998542"/>
              <a:gd name="connsiteX464" fmla="*/ 4968842 w 11460104"/>
              <a:gd name="connsiteY464" fmla="*/ 2997307 h 13998542"/>
              <a:gd name="connsiteX465" fmla="*/ 4980459 w 11460104"/>
              <a:gd name="connsiteY465" fmla="*/ 3055599 h 13998542"/>
              <a:gd name="connsiteX466" fmla="*/ 4998481 w 11460104"/>
              <a:gd name="connsiteY466" fmla="*/ 3165810 h 13998542"/>
              <a:gd name="connsiteX467" fmla="*/ 5027576 w 11460104"/>
              <a:gd name="connsiteY467" fmla="*/ 3217135 h 13998542"/>
              <a:gd name="connsiteX468" fmla="*/ 5064406 w 11460104"/>
              <a:gd name="connsiteY468" fmla="*/ 3274768 h 13998542"/>
              <a:gd name="connsiteX469" fmla="*/ 5083927 w 11460104"/>
              <a:gd name="connsiteY469" fmla="*/ 3345875 h 13998542"/>
              <a:gd name="connsiteX470" fmla="*/ 5035343 w 11460104"/>
              <a:gd name="connsiteY470" fmla="*/ 3321103 h 13998542"/>
              <a:gd name="connsiteX471" fmla="*/ 5032036 w 11460104"/>
              <a:gd name="connsiteY471" fmla="*/ 3483958 h 13998542"/>
              <a:gd name="connsiteX472" fmla="*/ 5051420 w 11460104"/>
              <a:gd name="connsiteY472" fmla="*/ 3646219 h 13998542"/>
              <a:gd name="connsiteX473" fmla="*/ 5051518 w 11460104"/>
              <a:gd name="connsiteY473" fmla="*/ 3939200 h 13998542"/>
              <a:gd name="connsiteX474" fmla="*/ 5063135 w 11460104"/>
              <a:gd name="connsiteY474" fmla="*/ 3997493 h 13998542"/>
              <a:gd name="connsiteX475" fmla="*/ 5091242 w 11460104"/>
              <a:gd name="connsiteY475" fmla="*/ 4107440 h 13998542"/>
              <a:gd name="connsiteX476" fmla="*/ 5102210 w 11460104"/>
              <a:gd name="connsiteY476" fmla="*/ 4237368 h 13998542"/>
              <a:gd name="connsiteX477" fmla="*/ 5124764 w 11460104"/>
              <a:gd name="connsiteY477" fmla="*/ 4327928 h 13998542"/>
              <a:gd name="connsiteX478" fmla="*/ 5147998 w 11460104"/>
              <a:gd name="connsiteY478" fmla="*/ 4444513 h 13998542"/>
              <a:gd name="connsiteX479" fmla="*/ 5161456 w 11460104"/>
              <a:gd name="connsiteY479" fmla="*/ 4476715 h 13998542"/>
              <a:gd name="connsiteX480" fmla="*/ 5177264 w 11460104"/>
              <a:gd name="connsiteY480" fmla="*/ 4502344 h 13998542"/>
              <a:gd name="connsiteX481" fmla="*/ 5216785 w 11460104"/>
              <a:gd name="connsiteY481" fmla="*/ 4566417 h 13998542"/>
              <a:gd name="connsiteX482" fmla="*/ 5267720 w 11460104"/>
              <a:gd name="connsiteY482" fmla="*/ 4584617 h 13998542"/>
              <a:gd name="connsiteX483" fmla="*/ 5282612 w 11460104"/>
              <a:gd name="connsiteY483" fmla="*/ 4382394 h 13998542"/>
              <a:gd name="connsiteX484" fmla="*/ 5286633 w 11460104"/>
              <a:gd name="connsiteY484" fmla="*/ 4343225 h 13998542"/>
              <a:gd name="connsiteX485" fmla="*/ 5285611 w 11460104"/>
              <a:gd name="connsiteY485" fmla="*/ 4304187 h 13998542"/>
              <a:gd name="connsiteX486" fmla="*/ 5316789 w 11460104"/>
              <a:gd name="connsiteY486" fmla="*/ 4049452 h 13998542"/>
              <a:gd name="connsiteX487" fmla="*/ 5344012 w 11460104"/>
              <a:gd name="connsiteY487" fmla="*/ 4029207 h 13998542"/>
              <a:gd name="connsiteX488" fmla="*/ 5387691 w 11460104"/>
              <a:gd name="connsiteY488" fmla="*/ 3962957 h 13998542"/>
              <a:gd name="connsiteX489" fmla="*/ 5415903 w 11460104"/>
              <a:gd name="connsiteY489" fmla="*/ 3884090 h 13998542"/>
              <a:gd name="connsiteX490" fmla="*/ 5446092 w 11460104"/>
              <a:gd name="connsiteY490" fmla="*/ 3687977 h 13998542"/>
              <a:gd name="connsiteX491" fmla="*/ 5467931 w 11460104"/>
              <a:gd name="connsiteY491" fmla="*/ 3654853 h 13998542"/>
              <a:gd name="connsiteX492" fmla="*/ 5559684 w 11460104"/>
              <a:gd name="connsiteY492" fmla="*/ 3593855 h 13998542"/>
              <a:gd name="connsiteX493" fmla="*/ 5583364 w 11460104"/>
              <a:gd name="connsiteY493" fmla="*/ 3534639 h 13998542"/>
              <a:gd name="connsiteX494" fmla="*/ 5611406 w 11460104"/>
              <a:gd name="connsiteY494" fmla="*/ 3449265 h 13998542"/>
              <a:gd name="connsiteX495" fmla="*/ 5625171 w 11460104"/>
              <a:gd name="connsiteY495" fmla="*/ 3396819 h 13998542"/>
              <a:gd name="connsiteX496" fmla="*/ 5562926 w 11460104"/>
              <a:gd name="connsiteY496" fmla="*/ 3235679 h 13998542"/>
              <a:gd name="connsiteX497" fmla="*/ 5587150 w 11460104"/>
              <a:gd name="connsiteY497" fmla="*/ 3293641 h 13998542"/>
              <a:gd name="connsiteX498" fmla="*/ 5611032 w 11460104"/>
              <a:gd name="connsiteY498" fmla="*/ 3338592 h 13998542"/>
              <a:gd name="connsiteX499" fmla="*/ 5639754 w 11460104"/>
              <a:gd name="connsiteY499" fmla="*/ 3279244 h 13998542"/>
              <a:gd name="connsiteX500" fmla="*/ 5637796 w 11460104"/>
              <a:gd name="connsiteY500" fmla="*/ 3264646 h 13998542"/>
              <a:gd name="connsiteX501" fmla="*/ 5633701 w 11460104"/>
              <a:gd name="connsiteY501" fmla="*/ 3240399 h 13998542"/>
              <a:gd name="connsiteX502" fmla="*/ 5634206 w 11460104"/>
              <a:gd name="connsiteY502" fmla="*/ 3241531 h 13998542"/>
              <a:gd name="connsiteX503" fmla="*/ 5643454 w 11460104"/>
              <a:gd name="connsiteY503" fmla="*/ 3273435 h 13998542"/>
              <a:gd name="connsiteX504" fmla="*/ 5666379 w 11460104"/>
              <a:gd name="connsiteY504" fmla="*/ 3273434 h 13998542"/>
              <a:gd name="connsiteX505" fmla="*/ 5726817 w 11460104"/>
              <a:gd name="connsiteY505" fmla="*/ 3241859 h 13998542"/>
              <a:gd name="connsiteX506" fmla="*/ 5776834 w 11460104"/>
              <a:gd name="connsiteY506" fmla="*/ 3305010 h 13998542"/>
              <a:gd name="connsiteX507" fmla="*/ 5789338 w 11460104"/>
              <a:gd name="connsiteY507" fmla="*/ 3326059 h 13998542"/>
              <a:gd name="connsiteX508" fmla="*/ 5791422 w 11460104"/>
              <a:gd name="connsiteY508" fmla="*/ 3383947 h 13998542"/>
              <a:gd name="connsiteX509" fmla="*/ 5795590 w 11460104"/>
              <a:gd name="connsiteY509" fmla="*/ 3415523 h 13998542"/>
              <a:gd name="connsiteX510" fmla="*/ 5812263 w 11460104"/>
              <a:gd name="connsiteY510" fmla="*/ 3494460 h 13998542"/>
              <a:gd name="connsiteX511" fmla="*/ 5818515 w 11460104"/>
              <a:gd name="connsiteY511" fmla="*/ 3731273 h 13998542"/>
              <a:gd name="connsiteX512" fmla="*/ 5826851 w 11460104"/>
              <a:gd name="connsiteY512" fmla="*/ 3778636 h 13998542"/>
              <a:gd name="connsiteX513" fmla="*/ 5839355 w 11460104"/>
              <a:gd name="connsiteY513" fmla="*/ 3868098 h 13998542"/>
              <a:gd name="connsiteX514" fmla="*/ 5862280 w 11460104"/>
              <a:gd name="connsiteY514" fmla="*/ 3910199 h 13998542"/>
              <a:gd name="connsiteX515" fmla="*/ 5891457 w 11460104"/>
              <a:gd name="connsiteY515" fmla="*/ 3957561 h 13998542"/>
              <a:gd name="connsiteX516" fmla="*/ 5906045 w 11460104"/>
              <a:gd name="connsiteY516" fmla="*/ 4015449 h 13998542"/>
              <a:gd name="connsiteX517" fmla="*/ 5866448 w 11460104"/>
              <a:gd name="connsiteY517" fmla="*/ 3994399 h 13998542"/>
              <a:gd name="connsiteX518" fmla="*/ 5860196 w 11460104"/>
              <a:gd name="connsiteY518" fmla="*/ 4125962 h 13998542"/>
              <a:gd name="connsiteX519" fmla="*/ 5872700 w 11460104"/>
              <a:gd name="connsiteY519" fmla="*/ 4257525 h 13998542"/>
              <a:gd name="connsiteX520" fmla="*/ 5866448 w 11460104"/>
              <a:gd name="connsiteY520" fmla="*/ 4494337 h 13998542"/>
              <a:gd name="connsiteX521" fmla="*/ 5874784 w 11460104"/>
              <a:gd name="connsiteY521" fmla="*/ 4541700 h 13998542"/>
              <a:gd name="connsiteX522" fmla="*/ 5895625 w 11460104"/>
              <a:gd name="connsiteY522" fmla="*/ 4631163 h 13998542"/>
              <a:gd name="connsiteX523" fmla="*/ 5901877 w 11460104"/>
              <a:gd name="connsiteY523" fmla="*/ 4736413 h 13998542"/>
              <a:gd name="connsiteX524" fmla="*/ 5918549 w 11460104"/>
              <a:gd name="connsiteY524" fmla="*/ 4810088 h 13998542"/>
              <a:gd name="connsiteX525" fmla="*/ 5935222 w 11460104"/>
              <a:gd name="connsiteY525" fmla="*/ 4904813 h 13998542"/>
              <a:gd name="connsiteX526" fmla="*/ 5945642 w 11460104"/>
              <a:gd name="connsiteY526" fmla="*/ 4931126 h 13998542"/>
              <a:gd name="connsiteX527" fmla="*/ 5958146 w 11460104"/>
              <a:gd name="connsiteY527" fmla="*/ 4952176 h 13998542"/>
              <a:gd name="connsiteX528" fmla="*/ 5989408 w 11460104"/>
              <a:gd name="connsiteY528" fmla="*/ 5004801 h 13998542"/>
              <a:gd name="connsiteX529" fmla="*/ 6031089 w 11460104"/>
              <a:gd name="connsiteY529" fmla="*/ 5020589 h 13998542"/>
              <a:gd name="connsiteX530" fmla="*/ 6047761 w 11460104"/>
              <a:gd name="connsiteY530" fmla="*/ 4857451 h 13998542"/>
              <a:gd name="connsiteX531" fmla="*/ 6051929 w 11460104"/>
              <a:gd name="connsiteY531" fmla="*/ 4825876 h 13998542"/>
              <a:gd name="connsiteX532" fmla="*/ 6051930 w 11460104"/>
              <a:gd name="connsiteY532" fmla="*/ 4794301 h 13998542"/>
              <a:gd name="connsiteX533" fmla="*/ 6083190 w 11460104"/>
              <a:gd name="connsiteY533" fmla="*/ 4589062 h 13998542"/>
              <a:gd name="connsiteX534" fmla="*/ 6106114 w 11460104"/>
              <a:gd name="connsiteY534" fmla="*/ 4573275 h 13998542"/>
              <a:gd name="connsiteX535" fmla="*/ 6143627 w 11460104"/>
              <a:gd name="connsiteY535" fmla="*/ 4520650 h 13998542"/>
              <a:gd name="connsiteX536" fmla="*/ 6168636 w 11460104"/>
              <a:gd name="connsiteY536" fmla="*/ 4457500 h 13998542"/>
              <a:gd name="connsiteX537" fmla="*/ 6197813 w 11460104"/>
              <a:gd name="connsiteY537" fmla="*/ 4299625 h 13998542"/>
              <a:gd name="connsiteX538" fmla="*/ 6216570 w 11460104"/>
              <a:gd name="connsiteY538" fmla="*/ 4273312 h 13998542"/>
              <a:gd name="connsiteX539" fmla="*/ 6293680 w 11460104"/>
              <a:gd name="connsiteY539" fmla="*/ 4225950 h 13998542"/>
              <a:gd name="connsiteX540" fmla="*/ 6314520 w 11460104"/>
              <a:gd name="connsiteY540" fmla="*/ 4178586 h 13998542"/>
              <a:gd name="connsiteX541" fmla="*/ 6339529 w 11460104"/>
              <a:gd name="connsiteY541" fmla="*/ 4110174 h 13998542"/>
              <a:gd name="connsiteX542" fmla="*/ 6352033 w 11460104"/>
              <a:gd name="connsiteY542" fmla="*/ 4068074 h 13998542"/>
              <a:gd name="connsiteX543" fmla="*/ 6304100 w 11460104"/>
              <a:gd name="connsiteY543" fmla="*/ 3936511 h 13998542"/>
              <a:gd name="connsiteX544" fmla="*/ 6322857 w 11460104"/>
              <a:gd name="connsiteY544" fmla="*/ 3983874 h 13998542"/>
              <a:gd name="connsiteX545" fmla="*/ 6341613 w 11460104"/>
              <a:gd name="connsiteY545" fmla="*/ 4020711 h 13998542"/>
              <a:gd name="connsiteX546" fmla="*/ 6366622 w 11460104"/>
              <a:gd name="connsiteY546" fmla="*/ 3973349 h 13998542"/>
              <a:gd name="connsiteX547" fmla="*/ 6362454 w 11460104"/>
              <a:gd name="connsiteY547" fmla="*/ 3941774 h 13998542"/>
              <a:gd name="connsiteX548" fmla="*/ 6349950 w 11460104"/>
              <a:gd name="connsiteY548" fmla="*/ 3841786 h 13998542"/>
              <a:gd name="connsiteX549" fmla="*/ 6362454 w 11460104"/>
              <a:gd name="connsiteY549" fmla="*/ 3825998 h 13998542"/>
              <a:gd name="connsiteX550" fmla="*/ 6364538 w 11460104"/>
              <a:gd name="connsiteY550" fmla="*/ 3778636 h 13998542"/>
              <a:gd name="connsiteX551" fmla="*/ 6362453 w 11460104"/>
              <a:gd name="connsiteY551" fmla="*/ 3715486 h 13998542"/>
              <a:gd name="connsiteX552" fmla="*/ 6331193 w 11460104"/>
              <a:gd name="connsiteY552" fmla="*/ 3626023 h 13998542"/>
              <a:gd name="connsiteX553" fmla="*/ 6391630 w 11460104"/>
              <a:gd name="connsiteY553" fmla="*/ 3604973 h 13998542"/>
              <a:gd name="connsiteX554" fmla="*/ 6370790 w 11460104"/>
              <a:gd name="connsiteY554" fmla="*/ 3541822 h 13998542"/>
              <a:gd name="connsiteX555" fmla="*/ 6397882 w 11460104"/>
              <a:gd name="connsiteY555" fmla="*/ 3504986 h 13998542"/>
              <a:gd name="connsiteX556" fmla="*/ 6406219 w 11460104"/>
              <a:gd name="connsiteY556" fmla="*/ 3473410 h 13998542"/>
              <a:gd name="connsiteX557" fmla="*/ 6362454 w 11460104"/>
              <a:gd name="connsiteY557" fmla="*/ 3341847 h 13998542"/>
              <a:gd name="connsiteX558" fmla="*/ 6374958 w 11460104"/>
              <a:gd name="connsiteY558" fmla="*/ 3394472 h 13998542"/>
              <a:gd name="connsiteX559" fmla="*/ 6399967 w 11460104"/>
              <a:gd name="connsiteY559" fmla="*/ 3310272 h 13998542"/>
              <a:gd name="connsiteX560" fmla="*/ 6395798 w 11460104"/>
              <a:gd name="connsiteY560" fmla="*/ 3278697 h 13998542"/>
              <a:gd name="connsiteX561" fmla="*/ 6389546 w 11460104"/>
              <a:gd name="connsiteY561" fmla="*/ 3241860 h 13998542"/>
              <a:gd name="connsiteX562" fmla="*/ 6358286 w 11460104"/>
              <a:gd name="connsiteY562" fmla="*/ 3178709 h 13998542"/>
              <a:gd name="connsiteX563" fmla="*/ 6362454 w 11460104"/>
              <a:gd name="connsiteY563" fmla="*/ 3131347 h 13998542"/>
              <a:gd name="connsiteX564" fmla="*/ 6414555 w 11460104"/>
              <a:gd name="connsiteY564" fmla="*/ 3073459 h 13998542"/>
              <a:gd name="connsiteX565" fmla="*/ 6368706 w 11460104"/>
              <a:gd name="connsiteY565" fmla="*/ 2899796 h 13998542"/>
              <a:gd name="connsiteX566" fmla="*/ 6374958 w 11460104"/>
              <a:gd name="connsiteY566" fmla="*/ 2778759 h 13998542"/>
              <a:gd name="connsiteX567" fmla="*/ 6402051 w 11460104"/>
              <a:gd name="connsiteY567" fmla="*/ 2789284 h 13998542"/>
              <a:gd name="connsiteX568" fmla="*/ 6399967 w 11460104"/>
              <a:gd name="connsiteY568" fmla="*/ 2662983 h 13998542"/>
              <a:gd name="connsiteX569" fmla="*/ 6397883 w 11460104"/>
              <a:gd name="connsiteY569" fmla="*/ 2562995 h 13998542"/>
              <a:gd name="connsiteX570" fmla="*/ 6404135 w 11460104"/>
              <a:gd name="connsiteY570" fmla="*/ 2573520 h 13998542"/>
              <a:gd name="connsiteX571" fmla="*/ 6422891 w 11460104"/>
              <a:gd name="connsiteY571" fmla="*/ 2578783 h 13998542"/>
              <a:gd name="connsiteX572" fmla="*/ 6433312 w 11460104"/>
              <a:gd name="connsiteY572" fmla="*/ 2520896 h 13998542"/>
              <a:gd name="connsiteX573" fmla="*/ 6395799 w 11460104"/>
              <a:gd name="connsiteY573" fmla="*/ 2510370 h 13998542"/>
              <a:gd name="connsiteX574" fmla="*/ 6397883 w 11460104"/>
              <a:gd name="connsiteY574" fmla="*/ 2473533 h 13998542"/>
              <a:gd name="connsiteX575" fmla="*/ 6443732 w 11460104"/>
              <a:gd name="connsiteY575" fmla="*/ 2463008 h 13998542"/>
              <a:gd name="connsiteX576" fmla="*/ 6450180 w 11460104"/>
              <a:gd name="connsiteY576" fmla="*/ 2389744 h 13998542"/>
              <a:gd name="connsiteX577" fmla="*/ 6450166 w 11460104"/>
              <a:gd name="connsiteY577" fmla="*/ 2389000 h 13998542"/>
              <a:gd name="connsiteX578" fmla="*/ 6458925 w 11460104"/>
              <a:gd name="connsiteY578" fmla="*/ 2386286 h 13998542"/>
              <a:gd name="connsiteX579" fmla="*/ 6477077 w 11460104"/>
              <a:gd name="connsiteY579" fmla="*/ 2315658 h 13998542"/>
              <a:gd name="connsiteX580" fmla="*/ 6493750 w 11460104"/>
              <a:gd name="connsiteY580" fmla="*/ 2231457 h 13998542"/>
              <a:gd name="connsiteX581" fmla="*/ 6516674 w 11460104"/>
              <a:gd name="connsiteY581" fmla="*/ 2178832 h 13998542"/>
              <a:gd name="connsiteX582" fmla="*/ 6508338 w 11460104"/>
              <a:gd name="connsiteY582" fmla="*/ 2094632 h 13998542"/>
              <a:gd name="connsiteX583" fmla="*/ 6495834 w 11460104"/>
              <a:gd name="connsiteY583" fmla="*/ 2084107 h 13998542"/>
              <a:gd name="connsiteX584" fmla="*/ 6462489 w 11460104"/>
              <a:gd name="connsiteY584" fmla="*/ 2057794 h 13998542"/>
              <a:gd name="connsiteX585" fmla="*/ 6433312 w 11460104"/>
              <a:gd name="connsiteY585" fmla="*/ 2105157 h 13998542"/>
              <a:gd name="connsiteX586" fmla="*/ 6420026 w 11460104"/>
              <a:gd name="connsiteY586" fmla="*/ 2092001 h 13998542"/>
              <a:gd name="connsiteX587" fmla="*/ 6416859 w 11460104"/>
              <a:gd name="connsiteY587" fmla="*/ 2088446 h 13998542"/>
              <a:gd name="connsiteX588" fmla="*/ 6414555 w 11460104"/>
              <a:gd name="connsiteY588" fmla="*/ 2073582 h 13998542"/>
              <a:gd name="connsiteX589" fmla="*/ 6403744 w 11460104"/>
              <a:gd name="connsiteY589" fmla="*/ 2037731 h 13998542"/>
              <a:gd name="connsiteX590" fmla="*/ 6403469 w 11460104"/>
              <a:gd name="connsiteY590" fmla="*/ 2034974 h 13998542"/>
              <a:gd name="connsiteX591" fmla="*/ 6402881 w 11460104"/>
              <a:gd name="connsiteY591" fmla="*/ 2019271 h 13998542"/>
              <a:gd name="connsiteX592" fmla="*/ 6399967 w 11460104"/>
              <a:gd name="connsiteY592" fmla="*/ 1999907 h 13998542"/>
              <a:gd name="connsiteX593" fmla="*/ 6403469 w 11460104"/>
              <a:gd name="connsiteY593" fmla="*/ 2034974 h 13998542"/>
              <a:gd name="connsiteX594" fmla="*/ 6403744 w 11460104"/>
              <a:gd name="connsiteY594" fmla="*/ 2042336 h 13998542"/>
              <a:gd name="connsiteX595" fmla="*/ 6408303 w 11460104"/>
              <a:gd name="connsiteY595" fmla="*/ 2078844 h 13998542"/>
              <a:gd name="connsiteX596" fmla="*/ 6416859 w 11460104"/>
              <a:gd name="connsiteY596" fmla="*/ 2088446 h 13998542"/>
              <a:gd name="connsiteX597" fmla="*/ 6418072 w 11460104"/>
              <a:gd name="connsiteY597" fmla="*/ 2096276 h 13998542"/>
              <a:gd name="connsiteX598" fmla="*/ 6420807 w 11460104"/>
              <a:gd name="connsiteY598" fmla="*/ 2120944 h 13998542"/>
              <a:gd name="connsiteX599" fmla="*/ 6427060 w 11460104"/>
              <a:gd name="connsiteY599" fmla="*/ 2126207 h 13998542"/>
              <a:gd name="connsiteX600" fmla="*/ 6429144 w 11460104"/>
              <a:gd name="connsiteY600" fmla="*/ 2141995 h 13998542"/>
              <a:gd name="connsiteX601" fmla="*/ 6433312 w 11460104"/>
              <a:gd name="connsiteY601" fmla="*/ 2168307 h 13998542"/>
              <a:gd name="connsiteX602" fmla="*/ 6424975 w 11460104"/>
              <a:gd name="connsiteY602" fmla="*/ 2152520 h 13998542"/>
              <a:gd name="connsiteX603" fmla="*/ 6408303 w 11460104"/>
              <a:gd name="connsiteY603" fmla="*/ 2157782 h 13998542"/>
              <a:gd name="connsiteX604" fmla="*/ 6391631 w 11460104"/>
              <a:gd name="connsiteY604" fmla="*/ 2115682 h 13998542"/>
              <a:gd name="connsiteX605" fmla="*/ 6387462 w 11460104"/>
              <a:gd name="connsiteY605" fmla="*/ 2147257 h 13998542"/>
              <a:gd name="connsiteX606" fmla="*/ 6374958 w 11460104"/>
              <a:gd name="connsiteY606" fmla="*/ 2226195 h 13998542"/>
              <a:gd name="connsiteX607" fmla="*/ 6362454 w 11460104"/>
              <a:gd name="connsiteY607" fmla="*/ 2247245 h 13998542"/>
              <a:gd name="connsiteX608" fmla="*/ 6345781 w 11460104"/>
              <a:gd name="connsiteY608" fmla="*/ 2341970 h 13998542"/>
              <a:gd name="connsiteX609" fmla="*/ 6337445 w 11460104"/>
              <a:gd name="connsiteY609" fmla="*/ 2389333 h 13998542"/>
              <a:gd name="connsiteX610" fmla="*/ 6329109 w 11460104"/>
              <a:gd name="connsiteY610" fmla="*/ 2352495 h 13998542"/>
              <a:gd name="connsiteX611" fmla="*/ 6343697 w 11460104"/>
              <a:gd name="connsiteY611" fmla="*/ 2257770 h 13998542"/>
              <a:gd name="connsiteX612" fmla="*/ 6366622 w 11460104"/>
              <a:gd name="connsiteY612" fmla="*/ 2205145 h 13998542"/>
              <a:gd name="connsiteX613" fmla="*/ 6358286 w 11460104"/>
              <a:gd name="connsiteY613" fmla="*/ 2010432 h 13998542"/>
              <a:gd name="connsiteX614" fmla="*/ 6345781 w 11460104"/>
              <a:gd name="connsiteY614" fmla="*/ 2031482 h 13998542"/>
              <a:gd name="connsiteX615" fmla="*/ 6329109 w 11460104"/>
              <a:gd name="connsiteY615" fmla="*/ 2115682 h 13998542"/>
              <a:gd name="connsiteX616" fmla="*/ 6308268 w 11460104"/>
              <a:gd name="connsiteY616" fmla="*/ 2120944 h 13998542"/>
              <a:gd name="connsiteX617" fmla="*/ 6289512 w 11460104"/>
              <a:gd name="connsiteY617" fmla="*/ 2152520 h 13998542"/>
              <a:gd name="connsiteX618" fmla="*/ 6291596 w 11460104"/>
              <a:gd name="connsiteY618" fmla="*/ 2115682 h 13998542"/>
              <a:gd name="connsiteX619" fmla="*/ 6312436 w 11460104"/>
              <a:gd name="connsiteY619" fmla="*/ 2026219 h 13998542"/>
              <a:gd name="connsiteX620" fmla="*/ 6266587 w 11460104"/>
              <a:gd name="connsiteY620" fmla="*/ 2015694 h 13998542"/>
              <a:gd name="connsiteX621" fmla="*/ 6204066 w 11460104"/>
              <a:gd name="connsiteY621" fmla="*/ 2089369 h 13998542"/>
              <a:gd name="connsiteX622" fmla="*/ 6189477 w 11460104"/>
              <a:gd name="connsiteY622" fmla="*/ 2089369 h 13998542"/>
              <a:gd name="connsiteX623" fmla="*/ 6206150 w 11460104"/>
              <a:gd name="connsiteY623" fmla="*/ 2010431 h 13998542"/>
              <a:gd name="connsiteX624" fmla="*/ 6224906 w 11460104"/>
              <a:gd name="connsiteY624" fmla="*/ 1994644 h 13998542"/>
              <a:gd name="connsiteX625" fmla="*/ 6231158 w 11460104"/>
              <a:gd name="connsiteY625" fmla="*/ 1984119 h 13998542"/>
              <a:gd name="connsiteX626" fmla="*/ 6243663 w 11460104"/>
              <a:gd name="connsiteY626" fmla="*/ 1973594 h 13998542"/>
              <a:gd name="connsiteX627" fmla="*/ 6306184 w 11460104"/>
              <a:gd name="connsiteY627" fmla="*/ 1978856 h 13998542"/>
              <a:gd name="connsiteX628" fmla="*/ 6318689 w 11460104"/>
              <a:gd name="connsiteY628" fmla="*/ 1957806 h 13998542"/>
              <a:gd name="connsiteX629" fmla="*/ 6331193 w 11460104"/>
              <a:gd name="connsiteY629" fmla="*/ 1947281 h 13998542"/>
              <a:gd name="connsiteX630" fmla="*/ 6352033 w 11460104"/>
              <a:gd name="connsiteY630" fmla="*/ 1899919 h 13998542"/>
              <a:gd name="connsiteX631" fmla="*/ 6360370 w 11460104"/>
              <a:gd name="connsiteY631" fmla="*/ 1894657 h 13998542"/>
              <a:gd name="connsiteX632" fmla="*/ 6362454 w 11460104"/>
              <a:gd name="connsiteY632" fmla="*/ 1815719 h 13998542"/>
              <a:gd name="connsiteX633" fmla="*/ 6341613 w 11460104"/>
              <a:gd name="connsiteY633" fmla="*/ 1784144 h 13998542"/>
              <a:gd name="connsiteX634" fmla="*/ 6333277 w 11460104"/>
              <a:gd name="connsiteY634" fmla="*/ 1768356 h 13998542"/>
              <a:gd name="connsiteX635" fmla="*/ 6316604 w 11460104"/>
              <a:gd name="connsiteY635" fmla="*/ 1763094 h 13998542"/>
              <a:gd name="connsiteX636" fmla="*/ 6304100 w 11460104"/>
              <a:gd name="connsiteY636" fmla="*/ 1778882 h 13998542"/>
              <a:gd name="connsiteX637" fmla="*/ 6306184 w 11460104"/>
              <a:gd name="connsiteY637" fmla="*/ 1752569 h 13998542"/>
              <a:gd name="connsiteX638" fmla="*/ 6308268 w 11460104"/>
              <a:gd name="connsiteY638" fmla="*/ 1694681 h 13998542"/>
              <a:gd name="connsiteX639" fmla="*/ 6270755 w 11460104"/>
              <a:gd name="connsiteY639" fmla="*/ 1699944 h 13998542"/>
              <a:gd name="connsiteX640" fmla="*/ 6216570 w 11460104"/>
              <a:gd name="connsiteY640" fmla="*/ 1736781 h 13998542"/>
              <a:gd name="connsiteX641" fmla="*/ 6179057 w 11460104"/>
              <a:gd name="connsiteY641" fmla="*/ 1826244 h 13998542"/>
              <a:gd name="connsiteX642" fmla="*/ 6156132 w 11460104"/>
              <a:gd name="connsiteY642" fmla="*/ 1742043 h 13998542"/>
              <a:gd name="connsiteX643" fmla="*/ 6141544 w 11460104"/>
              <a:gd name="connsiteY643" fmla="*/ 1757831 h 13998542"/>
              <a:gd name="connsiteX644" fmla="*/ 6160301 w 11460104"/>
              <a:gd name="connsiteY644" fmla="*/ 1731518 h 13998542"/>
              <a:gd name="connsiteX645" fmla="*/ 6214486 w 11460104"/>
              <a:gd name="connsiteY645" fmla="*/ 1673631 h 13998542"/>
              <a:gd name="connsiteX646" fmla="*/ 6268671 w 11460104"/>
              <a:gd name="connsiteY646" fmla="*/ 1663106 h 13998542"/>
              <a:gd name="connsiteX647" fmla="*/ 6295764 w 11460104"/>
              <a:gd name="connsiteY647" fmla="*/ 1615744 h 13998542"/>
              <a:gd name="connsiteX648" fmla="*/ 6285344 w 11460104"/>
              <a:gd name="connsiteY648" fmla="*/ 1589430 h 13998542"/>
              <a:gd name="connsiteX649" fmla="*/ 6226990 w 11460104"/>
              <a:gd name="connsiteY649" fmla="*/ 1521018 h 13998542"/>
              <a:gd name="connsiteX650" fmla="*/ 6201981 w 11460104"/>
              <a:gd name="connsiteY650" fmla="*/ 1515756 h 13998542"/>
              <a:gd name="connsiteX651" fmla="*/ 6135292 w 11460104"/>
              <a:gd name="connsiteY651" fmla="*/ 1547330 h 13998542"/>
              <a:gd name="connsiteX652" fmla="*/ 6093610 w 11460104"/>
              <a:gd name="connsiteY652" fmla="*/ 1594693 h 13998542"/>
              <a:gd name="connsiteX653" fmla="*/ 6068602 w 11460104"/>
              <a:gd name="connsiteY653" fmla="*/ 1615743 h 13998542"/>
              <a:gd name="connsiteX654" fmla="*/ 6049845 w 11460104"/>
              <a:gd name="connsiteY654" fmla="*/ 1621006 h 13998542"/>
              <a:gd name="connsiteX655" fmla="*/ 6047761 w 11460104"/>
              <a:gd name="connsiteY655" fmla="*/ 1636794 h 13998542"/>
              <a:gd name="connsiteX656" fmla="*/ 6020668 w 11460104"/>
              <a:gd name="connsiteY656" fmla="*/ 1647319 h 13998542"/>
              <a:gd name="connsiteX657" fmla="*/ 6024837 w 11460104"/>
              <a:gd name="connsiteY657" fmla="*/ 1678893 h 13998542"/>
              <a:gd name="connsiteX658" fmla="*/ 6018584 w 11460104"/>
              <a:gd name="connsiteY658" fmla="*/ 1673631 h 13998542"/>
              <a:gd name="connsiteX659" fmla="*/ 5997744 w 11460104"/>
              <a:gd name="connsiteY659" fmla="*/ 1699944 h 13998542"/>
              <a:gd name="connsiteX660" fmla="*/ 6018585 w 11460104"/>
              <a:gd name="connsiteY660" fmla="*/ 1752568 h 13998542"/>
              <a:gd name="connsiteX661" fmla="*/ 6049845 w 11460104"/>
              <a:gd name="connsiteY661" fmla="*/ 1768356 h 13998542"/>
              <a:gd name="connsiteX662" fmla="*/ 6054518 w 11460104"/>
              <a:gd name="connsiteY662" fmla="*/ 1778634 h 13998542"/>
              <a:gd name="connsiteX663" fmla="*/ 6055092 w 11460104"/>
              <a:gd name="connsiteY663" fmla="*/ 1779878 h 13998542"/>
              <a:gd name="connsiteX664" fmla="*/ 6054664 w 11460104"/>
              <a:gd name="connsiteY664" fmla="*/ 1779539 h 13998542"/>
              <a:gd name="connsiteX665" fmla="*/ 6043593 w 11460104"/>
              <a:gd name="connsiteY665" fmla="*/ 1773618 h 13998542"/>
              <a:gd name="connsiteX666" fmla="*/ 6047761 w 11460104"/>
              <a:gd name="connsiteY666" fmla="*/ 1805194 h 13998542"/>
              <a:gd name="connsiteX667" fmla="*/ 6051901 w 11460104"/>
              <a:gd name="connsiteY667" fmla="*/ 1818173 h 13998542"/>
              <a:gd name="connsiteX668" fmla="*/ 6041509 w 11460104"/>
              <a:gd name="connsiteY668" fmla="*/ 1805194 h 13998542"/>
              <a:gd name="connsiteX669" fmla="*/ 5993575 w 11460104"/>
              <a:gd name="connsiteY669" fmla="*/ 1805194 h 13998542"/>
              <a:gd name="connsiteX670" fmla="*/ 5997744 w 11460104"/>
              <a:gd name="connsiteY670" fmla="*/ 1836769 h 13998542"/>
              <a:gd name="connsiteX671" fmla="*/ 6008164 w 11460104"/>
              <a:gd name="connsiteY671" fmla="*/ 1884132 h 13998542"/>
              <a:gd name="connsiteX672" fmla="*/ 6024837 w 11460104"/>
              <a:gd name="connsiteY672" fmla="*/ 1947282 h 13998542"/>
              <a:gd name="connsiteX673" fmla="*/ 5995660 w 11460104"/>
              <a:gd name="connsiteY673" fmla="*/ 1831506 h 13998542"/>
              <a:gd name="connsiteX674" fmla="*/ 5974819 w 11460104"/>
              <a:gd name="connsiteY674" fmla="*/ 1815719 h 13998542"/>
              <a:gd name="connsiteX675" fmla="*/ 5970651 w 11460104"/>
              <a:gd name="connsiteY675" fmla="*/ 1894656 h 13998542"/>
              <a:gd name="connsiteX676" fmla="*/ 5997744 w 11460104"/>
              <a:gd name="connsiteY676" fmla="*/ 1973595 h 13998542"/>
              <a:gd name="connsiteX677" fmla="*/ 6014416 w 11460104"/>
              <a:gd name="connsiteY677" fmla="*/ 2073581 h 13998542"/>
              <a:gd name="connsiteX678" fmla="*/ 5985240 w 11460104"/>
              <a:gd name="connsiteY678" fmla="*/ 1994644 h 13998542"/>
              <a:gd name="connsiteX679" fmla="*/ 5962315 w 11460104"/>
              <a:gd name="connsiteY679" fmla="*/ 1947282 h 13998542"/>
              <a:gd name="connsiteX680" fmla="*/ 5949810 w 11460104"/>
              <a:gd name="connsiteY680" fmla="*/ 1905181 h 13998542"/>
              <a:gd name="connsiteX681" fmla="*/ 5916465 w 11460104"/>
              <a:gd name="connsiteY681" fmla="*/ 1878869 h 13998542"/>
              <a:gd name="connsiteX682" fmla="*/ 5914381 w 11460104"/>
              <a:gd name="connsiteY682" fmla="*/ 1915707 h 13998542"/>
              <a:gd name="connsiteX683" fmla="*/ 5922718 w 11460104"/>
              <a:gd name="connsiteY683" fmla="*/ 1984119 h 13998542"/>
              <a:gd name="connsiteX684" fmla="*/ 5928970 w 11460104"/>
              <a:gd name="connsiteY684" fmla="*/ 2047269 h 13998542"/>
              <a:gd name="connsiteX685" fmla="*/ 5889373 w 11460104"/>
              <a:gd name="connsiteY685" fmla="*/ 1952544 h 13998542"/>
              <a:gd name="connsiteX686" fmla="*/ 5878953 w 11460104"/>
              <a:gd name="connsiteY686" fmla="*/ 2026219 h 13998542"/>
              <a:gd name="connsiteX687" fmla="*/ 5874784 w 11460104"/>
              <a:gd name="connsiteY687" fmla="*/ 2147257 h 13998542"/>
              <a:gd name="connsiteX688" fmla="*/ 5862280 w 11460104"/>
              <a:gd name="connsiteY688" fmla="*/ 1942019 h 13998542"/>
              <a:gd name="connsiteX689" fmla="*/ 5839355 w 11460104"/>
              <a:gd name="connsiteY689" fmla="*/ 1957807 h 13998542"/>
              <a:gd name="connsiteX690" fmla="*/ 5814347 w 11460104"/>
              <a:gd name="connsiteY690" fmla="*/ 1989382 h 13998542"/>
              <a:gd name="connsiteX691" fmla="*/ 5789338 w 11460104"/>
              <a:gd name="connsiteY691" fmla="*/ 1996289 h 13998542"/>
              <a:gd name="connsiteX692" fmla="*/ 5789338 w 11460104"/>
              <a:gd name="connsiteY692" fmla="*/ 2036744 h 13998542"/>
              <a:gd name="connsiteX693" fmla="*/ 5824767 w 11460104"/>
              <a:gd name="connsiteY693" fmla="*/ 2184094 h 13998542"/>
              <a:gd name="connsiteX694" fmla="*/ 5797674 w 11460104"/>
              <a:gd name="connsiteY694" fmla="*/ 2084107 h 13998542"/>
              <a:gd name="connsiteX695" fmla="*/ 5766413 w 11460104"/>
              <a:gd name="connsiteY695" fmla="*/ 2063057 h 13998542"/>
              <a:gd name="connsiteX696" fmla="*/ 5753909 w 11460104"/>
              <a:gd name="connsiteY696" fmla="*/ 2247245 h 13998542"/>
              <a:gd name="connsiteX697" fmla="*/ 5726816 w 11460104"/>
              <a:gd name="connsiteY697" fmla="*/ 2263033 h 13998542"/>
              <a:gd name="connsiteX698" fmla="*/ 5726816 w 11460104"/>
              <a:gd name="connsiteY698" fmla="*/ 2326183 h 13998542"/>
              <a:gd name="connsiteX699" fmla="*/ 5708060 w 11460104"/>
              <a:gd name="connsiteY699" fmla="*/ 2294607 h 13998542"/>
              <a:gd name="connsiteX700" fmla="*/ 5685135 w 11460104"/>
              <a:gd name="connsiteY700" fmla="*/ 2368283 h 13998542"/>
              <a:gd name="connsiteX701" fmla="*/ 5664295 w 11460104"/>
              <a:gd name="connsiteY701" fmla="*/ 2436695 h 13998542"/>
              <a:gd name="connsiteX702" fmla="*/ 5664295 w 11460104"/>
              <a:gd name="connsiteY702" fmla="*/ 2499845 h 13998542"/>
              <a:gd name="connsiteX703" fmla="*/ 5676799 w 11460104"/>
              <a:gd name="connsiteY703" fmla="*/ 2520896 h 13998542"/>
              <a:gd name="connsiteX704" fmla="*/ 5691387 w 11460104"/>
              <a:gd name="connsiteY704" fmla="*/ 2526158 h 13998542"/>
              <a:gd name="connsiteX705" fmla="*/ 5708060 w 11460104"/>
              <a:gd name="connsiteY705" fmla="*/ 2505108 h 13998542"/>
              <a:gd name="connsiteX706" fmla="*/ 5697639 w 11460104"/>
              <a:gd name="connsiteY706" fmla="*/ 2568258 h 13998542"/>
              <a:gd name="connsiteX707" fmla="*/ 5685135 w 11460104"/>
              <a:gd name="connsiteY707" fmla="*/ 2694558 h 13998542"/>
              <a:gd name="connsiteX708" fmla="*/ 5685135 w 11460104"/>
              <a:gd name="connsiteY708" fmla="*/ 2673094 h 13998542"/>
              <a:gd name="connsiteX709" fmla="*/ 5685266 w 11460104"/>
              <a:gd name="connsiteY709" fmla="*/ 2671863 h 13998542"/>
              <a:gd name="connsiteX710" fmla="*/ 5685135 w 11460104"/>
              <a:gd name="connsiteY710" fmla="*/ 2652458 h 13998542"/>
              <a:gd name="connsiteX711" fmla="*/ 5685135 w 11460104"/>
              <a:gd name="connsiteY711" fmla="*/ 2673094 h 13998542"/>
              <a:gd name="connsiteX712" fmla="*/ 5684696 w 11460104"/>
              <a:gd name="connsiteY712" fmla="*/ 2677250 h 13998542"/>
              <a:gd name="connsiteX713" fmla="*/ 5683051 w 11460104"/>
              <a:gd name="connsiteY713" fmla="*/ 2689296 h 13998542"/>
              <a:gd name="connsiteX714" fmla="*/ 5666379 w 11460104"/>
              <a:gd name="connsiteY714" fmla="*/ 2726134 h 13998542"/>
              <a:gd name="connsiteX715" fmla="*/ 5657153 w 11460104"/>
              <a:gd name="connsiteY715" fmla="*/ 2726688 h 13998542"/>
              <a:gd name="connsiteX716" fmla="*/ 5662420 w 11460104"/>
              <a:gd name="connsiteY716" fmla="*/ 2699195 h 13998542"/>
              <a:gd name="connsiteX717" fmla="*/ 5671483 w 11460104"/>
              <a:gd name="connsiteY717" fmla="*/ 2659893 h 13998542"/>
              <a:gd name="connsiteX718" fmla="*/ 5614281 w 11460104"/>
              <a:gd name="connsiteY718" fmla="*/ 2498622 h 13998542"/>
              <a:gd name="connsiteX719" fmla="*/ 5631111 w 11460104"/>
              <a:gd name="connsiteY719" fmla="*/ 2563288 h 13998542"/>
              <a:gd name="connsiteX720" fmla="*/ 5658641 w 11460104"/>
              <a:gd name="connsiteY720" fmla="*/ 2458396 h 13998542"/>
              <a:gd name="connsiteX721" fmla="*/ 5652577 w 11460104"/>
              <a:gd name="connsiteY721" fmla="*/ 2419491 h 13998542"/>
              <a:gd name="connsiteX722" fmla="*/ 5643822 w 11460104"/>
              <a:gd name="connsiteY722" fmla="*/ 2374144 h 13998542"/>
              <a:gd name="connsiteX723" fmla="*/ 5603961 w 11460104"/>
              <a:gd name="connsiteY723" fmla="*/ 2297058 h 13998542"/>
              <a:gd name="connsiteX724" fmla="*/ 5607471 w 11460104"/>
              <a:gd name="connsiteY724" fmla="*/ 2238370 h 13998542"/>
              <a:gd name="connsiteX725" fmla="*/ 5668628 w 11460104"/>
              <a:gd name="connsiteY725" fmla="*/ 2165152 h 13998542"/>
              <a:gd name="connsiteX726" fmla="*/ 5607543 w 11460104"/>
              <a:gd name="connsiteY726" fmla="*/ 1951896 h 13998542"/>
              <a:gd name="connsiteX727" fmla="*/ 5611191 w 11460104"/>
              <a:gd name="connsiteY727" fmla="*/ 1802053 h 13998542"/>
              <a:gd name="connsiteX728" fmla="*/ 5644307 w 11460104"/>
              <a:gd name="connsiteY728" fmla="*/ 1814208 h 13998542"/>
              <a:gd name="connsiteX729" fmla="*/ 5637700 w 11460104"/>
              <a:gd name="connsiteY729" fmla="*/ 1658123 h 13998542"/>
              <a:gd name="connsiteX730" fmla="*/ 5631943 w 11460104"/>
              <a:gd name="connsiteY730" fmla="*/ 1534570 h 13998542"/>
              <a:gd name="connsiteX731" fmla="*/ 5639847 w 11460104"/>
              <a:gd name="connsiteY731" fmla="*/ 1547385 h 13998542"/>
              <a:gd name="connsiteX732" fmla="*/ 5662709 w 11460104"/>
              <a:gd name="connsiteY732" fmla="*/ 1553297 h 13998542"/>
              <a:gd name="connsiteX733" fmla="*/ 5673442 w 11460104"/>
              <a:gd name="connsiteY733" fmla="*/ 1481398 h 13998542"/>
              <a:gd name="connsiteX734" fmla="*/ 5627720 w 11460104"/>
              <a:gd name="connsiteY734" fmla="*/ 1469573 h 13998542"/>
              <a:gd name="connsiteX735" fmla="*/ 5629049 w 11460104"/>
              <a:gd name="connsiteY735" fmla="*/ 1423963 h 13998542"/>
              <a:gd name="connsiteX736" fmla="*/ 5684175 w 11460104"/>
              <a:gd name="connsiteY736" fmla="*/ 1409499 h 13998542"/>
              <a:gd name="connsiteX737" fmla="*/ 5689605 w 11460104"/>
              <a:gd name="connsiteY737" fmla="*/ 1318715 h 13998542"/>
              <a:gd name="connsiteX738" fmla="*/ 5689606 w 11460104"/>
              <a:gd name="connsiteY738" fmla="*/ 1317781 h 13998542"/>
              <a:gd name="connsiteX739" fmla="*/ 5700073 w 11460104"/>
              <a:gd name="connsiteY739" fmla="*/ 1314162 h 13998542"/>
              <a:gd name="connsiteX740" fmla="*/ 5719748 w 11460104"/>
              <a:gd name="connsiteY740" fmla="*/ 1226267 h 13998542"/>
              <a:gd name="connsiteX741" fmla="*/ 5737193 w 11460104"/>
              <a:gd name="connsiteY741" fmla="*/ 1121639 h 13998542"/>
              <a:gd name="connsiteX742" fmla="*/ 5763224 w 11460104"/>
              <a:gd name="connsiteY742" fmla="*/ 1055851 h 13998542"/>
              <a:gd name="connsiteX743" fmla="*/ 5750415 w 11460104"/>
              <a:gd name="connsiteY743" fmla="*/ 952013 h 13998542"/>
              <a:gd name="connsiteX744" fmla="*/ 5734947 w 11460104"/>
              <a:gd name="connsiteY744" fmla="*/ 939397 h 13998542"/>
              <a:gd name="connsiteX745" fmla="*/ 5693756 w 11460104"/>
              <a:gd name="connsiteY745" fmla="*/ 907921 h 13998542"/>
              <a:gd name="connsiteX746" fmla="*/ 5659991 w 11460104"/>
              <a:gd name="connsiteY746" fmla="*/ 967401 h 13998542"/>
              <a:gd name="connsiteX747" fmla="*/ 5643493 w 11460104"/>
              <a:gd name="connsiteY747" fmla="*/ 951556 h 13998542"/>
              <a:gd name="connsiteX748" fmla="*/ 5639547 w 11460104"/>
              <a:gd name="connsiteY748" fmla="*/ 947262 h 13998542"/>
              <a:gd name="connsiteX749" fmla="*/ 5636279 w 11460104"/>
              <a:gd name="connsiteY749" fmla="*/ 928957 h 13998542"/>
              <a:gd name="connsiteX750" fmla="*/ 5622041 w 11460104"/>
              <a:gd name="connsiteY750" fmla="*/ 884975 h 13998542"/>
              <a:gd name="connsiteX751" fmla="*/ 5621618 w 11460104"/>
              <a:gd name="connsiteY751" fmla="*/ 881574 h 13998542"/>
              <a:gd name="connsiteX752" fmla="*/ 5620399 w 11460104"/>
              <a:gd name="connsiteY752" fmla="*/ 862179 h 13998542"/>
              <a:gd name="connsiteX753" fmla="*/ 5616247 w 11460104"/>
              <a:gd name="connsiteY753" fmla="*/ 838331 h 13998542"/>
              <a:gd name="connsiteX754" fmla="*/ 5621618 w 11460104"/>
              <a:gd name="connsiteY754" fmla="*/ 881574 h 13998542"/>
              <a:gd name="connsiteX755" fmla="*/ 5622189 w 11460104"/>
              <a:gd name="connsiteY755" fmla="*/ 890668 h 13998542"/>
              <a:gd name="connsiteX756" fmla="*/ 5628886 w 11460104"/>
              <a:gd name="connsiteY756" fmla="*/ 935662 h 13998542"/>
              <a:gd name="connsiteX757" fmla="*/ 5639547 w 11460104"/>
              <a:gd name="connsiteY757" fmla="*/ 947262 h 13998542"/>
              <a:gd name="connsiteX758" fmla="*/ 5641268 w 11460104"/>
              <a:gd name="connsiteY758" fmla="*/ 956905 h 13998542"/>
              <a:gd name="connsiteX759" fmla="*/ 5645375 w 11460104"/>
              <a:gd name="connsiteY759" fmla="*/ 987316 h 13998542"/>
              <a:gd name="connsiteX760" fmla="*/ 5653109 w 11460104"/>
              <a:gd name="connsiteY760" fmla="*/ 993625 h 13998542"/>
              <a:gd name="connsiteX761" fmla="*/ 5656141 w 11460104"/>
              <a:gd name="connsiteY761" fmla="*/ 1013077 h 13998542"/>
              <a:gd name="connsiteX762" fmla="*/ 5662035 w 11460104"/>
              <a:gd name="connsiteY762" fmla="*/ 1045477 h 13998542"/>
              <a:gd name="connsiteX763" fmla="*/ 5651439 w 11460104"/>
              <a:gd name="connsiteY763" fmla="*/ 1026222 h 13998542"/>
              <a:gd name="connsiteX764" fmla="*/ 5631439 w 11460104"/>
              <a:gd name="connsiteY764" fmla="*/ 1033256 h 13998542"/>
              <a:gd name="connsiteX765" fmla="*/ 5609907 w 11460104"/>
              <a:gd name="connsiteY765" fmla="*/ 981734 h 13998542"/>
              <a:gd name="connsiteX766" fmla="*/ 5605887 w 11460104"/>
              <a:gd name="connsiteY766" fmla="*/ 1020903 h 13998542"/>
              <a:gd name="connsiteX767" fmla="*/ 5593313 w 11460104"/>
              <a:gd name="connsiteY767" fmla="*/ 1118894 h 13998542"/>
              <a:gd name="connsiteX768" fmla="*/ 5578867 w 11460104"/>
              <a:gd name="connsiteY768" fmla="*/ 1145314 h 13998542"/>
              <a:gd name="connsiteX769" fmla="*/ 5561762 w 11460104"/>
              <a:gd name="connsiteY769" fmla="*/ 1262955 h 13998542"/>
              <a:gd name="connsiteX770" fmla="*/ 5553210 w 11460104"/>
              <a:gd name="connsiteY770" fmla="*/ 1321775 h 13998542"/>
              <a:gd name="connsiteX771" fmla="*/ 5541933 w 11460104"/>
              <a:gd name="connsiteY771" fmla="*/ 1276495 h 13998542"/>
              <a:gd name="connsiteX772" fmla="*/ 5556517 w 11460104"/>
              <a:gd name="connsiteY772" fmla="*/ 1158920 h 13998542"/>
              <a:gd name="connsiteX773" fmla="*/ 5582547 w 11460104"/>
              <a:gd name="connsiteY773" fmla="*/ 1093132 h 13998542"/>
              <a:gd name="connsiteX774" fmla="*/ 5566163 w 11460104"/>
              <a:gd name="connsiteY774" fmla="*/ 852664 h 13998542"/>
              <a:gd name="connsiteX775" fmla="*/ 5551717 w 11460104"/>
              <a:gd name="connsiteY775" fmla="*/ 879085 h 13998542"/>
              <a:gd name="connsiteX776" fmla="*/ 5534271 w 11460104"/>
              <a:gd name="connsiteY776" fmla="*/ 983713 h 13998542"/>
              <a:gd name="connsiteX777" fmla="*/ 5509229 w 11460104"/>
              <a:gd name="connsiteY777" fmla="*/ 990879 h 13998542"/>
              <a:gd name="connsiteX778" fmla="*/ 5487560 w 11460104"/>
              <a:gd name="connsiteY778" fmla="*/ 1030510 h 13998542"/>
              <a:gd name="connsiteX779" fmla="*/ 5488889 w 11460104"/>
              <a:gd name="connsiteY779" fmla="*/ 984900 h 13998542"/>
              <a:gd name="connsiteX780" fmla="*/ 5511207 w 11460104"/>
              <a:gd name="connsiteY780" fmla="*/ 873634 h 13998542"/>
              <a:gd name="connsiteX781" fmla="*/ 5455399 w 11460104"/>
              <a:gd name="connsiteY781" fmla="*/ 862073 h 13998542"/>
              <a:gd name="connsiteX782" fmla="*/ 5382147 w 11460104"/>
              <a:gd name="connsiteY782" fmla="*/ 955140 h 13998542"/>
              <a:gd name="connsiteX783" fmla="*/ 5364498 w 11460104"/>
              <a:gd name="connsiteY783" fmla="*/ 955601 h 13998542"/>
              <a:gd name="connsiteX784" fmla="*/ 5382114 w 11460104"/>
              <a:gd name="connsiteY784" fmla="*/ 857480 h 13998542"/>
              <a:gd name="connsiteX785" fmla="*/ 5404294 w 11460104"/>
              <a:gd name="connsiteY785" fmla="*/ 837367 h 13998542"/>
              <a:gd name="connsiteX786" fmla="*/ 5411517 w 11460104"/>
              <a:gd name="connsiteY786" fmla="*/ 824156 h 13998542"/>
              <a:gd name="connsiteX787" fmla="*/ 5426304 w 11460104"/>
              <a:gd name="connsiteY787" fmla="*/ 810748 h 13998542"/>
              <a:gd name="connsiteX788" fmla="*/ 5502111 w 11460104"/>
              <a:gd name="connsiteY788" fmla="*/ 815275 h 13998542"/>
              <a:gd name="connsiteX789" fmla="*/ 5516557 w 11460104"/>
              <a:gd name="connsiteY789" fmla="*/ 788854 h 13998542"/>
              <a:gd name="connsiteX790" fmla="*/ 5531344 w 11460104"/>
              <a:gd name="connsiteY790" fmla="*/ 775446 h 13998542"/>
              <a:gd name="connsiteX791" fmla="*/ 5555024 w 11460104"/>
              <a:gd name="connsiteY791" fmla="*/ 716230 h 13998542"/>
              <a:gd name="connsiteX792" fmla="*/ 5564938 w 11460104"/>
              <a:gd name="connsiteY792" fmla="*/ 709459 h 13998542"/>
              <a:gd name="connsiteX793" fmla="*/ 5564906 w 11460104"/>
              <a:gd name="connsiteY793" fmla="*/ 611799 h 13998542"/>
              <a:gd name="connsiteX794" fmla="*/ 5538672 w 11460104"/>
              <a:gd name="connsiteY794" fmla="*/ 573421 h 13998542"/>
              <a:gd name="connsiteX795" fmla="*/ 5528077 w 11460104"/>
              <a:gd name="connsiteY795" fmla="*/ 554166 h 13998542"/>
              <a:gd name="connsiteX796" fmla="*/ 5507737 w 11460104"/>
              <a:gd name="connsiteY796" fmla="*/ 548187 h 13998542"/>
              <a:gd name="connsiteX797" fmla="*/ 5493120 w 11460104"/>
              <a:gd name="connsiteY797" fmla="*/ 568103 h 13998542"/>
              <a:gd name="connsiteX798" fmla="*/ 5494790 w 11460104"/>
              <a:gd name="connsiteY798" fmla="*/ 535505 h 13998542"/>
              <a:gd name="connsiteX799" fmla="*/ 5495438 w 11460104"/>
              <a:gd name="connsiteY799" fmla="*/ 463870 h 13998542"/>
              <a:gd name="connsiteX800" fmla="*/ 5450226 w 11460104"/>
              <a:gd name="connsiteY800" fmla="*/ 471564 h 13998542"/>
              <a:gd name="connsiteX801" fmla="*/ 5385866 w 11460104"/>
              <a:gd name="connsiteY801" fmla="*/ 518823 h 13998542"/>
              <a:gd name="connsiteX802" fmla="*/ 5343379 w 11460104"/>
              <a:gd name="connsiteY802" fmla="*/ 630617 h 13998542"/>
              <a:gd name="connsiteX803" fmla="*/ 5331862 w 11460104"/>
              <a:gd name="connsiteY803" fmla="*/ 543024 h 13998542"/>
              <a:gd name="connsiteX804" fmla="*/ 5313796 w 11460104"/>
              <a:gd name="connsiteY804" fmla="*/ 527970 h 13998542"/>
              <a:gd name="connsiteX805" fmla="*/ 5317623 w 11460104"/>
              <a:gd name="connsiteY805" fmla="*/ 514098 h 13998542"/>
              <a:gd name="connsiteX806" fmla="*/ 5381302 w 11460104"/>
              <a:gd name="connsiteY806" fmla="*/ 440814 h 13998542"/>
              <a:gd name="connsiteX807" fmla="*/ 5446513 w 11460104"/>
              <a:gd name="connsiteY807" fmla="*/ 426086 h 13998542"/>
              <a:gd name="connsiteX808" fmla="*/ 5477757 w 11460104"/>
              <a:gd name="connsiteY808" fmla="*/ 366672 h 13998542"/>
              <a:gd name="connsiteX809" fmla="*/ 5464300 w 11460104"/>
              <a:gd name="connsiteY809" fmla="*/ 334470 h 13998542"/>
              <a:gd name="connsiteX810" fmla="*/ 5391492 w 11460104"/>
              <a:gd name="connsiteY810" fmla="*/ 251735 h 13998542"/>
              <a:gd name="connsiteX811" fmla="*/ 5361067 w 11460104"/>
              <a:gd name="connsiteY811" fmla="*/ 246020 h 13998542"/>
              <a:gd name="connsiteX812" fmla="*/ 5281410 w 11460104"/>
              <a:gd name="connsiteY812" fmla="*/ 287170 h 13998542"/>
              <a:gd name="connsiteX813" fmla="*/ 5232518 w 11460104"/>
              <a:gd name="connsiteY813" fmla="*/ 347046 h 13998542"/>
              <a:gd name="connsiteX814" fmla="*/ 5202944 w 11460104"/>
              <a:gd name="connsiteY814" fmla="*/ 373863 h 13998542"/>
              <a:gd name="connsiteX815" fmla="*/ 5180424 w 11460104"/>
              <a:gd name="connsiteY815" fmla="*/ 380962 h 13998542"/>
              <a:gd name="connsiteX816" fmla="*/ 5178413 w 11460104"/>
              <a:gd name="connsiteY816" fmla="*/ 400547 h 13998542"/>
              <a:gd name="connsiteX817" fmla="*/ 5145978 w 11460104"/>
              <a:gd name="connsiteY817" fmla="*/ 414418 h 13998542"/>
              <a:gd name="connsiteX818" fmla="*/ 5152042 w 11460104"/>
              <a:gd name="connsiteY818" fmla="*/ 453324 h 13998542"/>
              <a:gd name="connsiteX819" fmla="*/ 5144308 w 11460104"/>
              <a:gd name="connsiteY819" fmla="*/ 447015 h 13998542"/>
              <a:gd name="connsiteX820" fmla="*/ 5119947 w 11460104"/>
              <a:gd name="connsiteY820" fmla="*/ 480206 h 13998542"/>
              <a:gd name="connsiteX821" fmla="*/ 5146862 w 11460104"/>
              <a:gd name="connsiteY821" fmla="*/ 544609 h 13998542"/>
              <a:gd name="connsiteX822" fmla="*/ 5185191 w 11460104"/>
              <a:gd name="connsiteY822" fmla="*/ 563139 h 13998542"/>
              <a:gd name="connsiteX823" fmla="*/ 5191176 w 11460104"/>
              <a:gd name="connsiteY823" fmla="*/ 575699 h 13998542"/>
              <a:gd name="connsiteX824" fmla="*/ 5191911 w 11460104"/>
              <a:gd name="connsiteY824" fmla="*/ 577218 h 13998542"/>
              <a:gd name="connsiteX825" fmla="*/ 5191383 w 11460104"/>
              <a:gd name="connsiteY825" fmla="*/ 576813 h 13998542"/>
              <a:gd name="connsiteX826" fmla="*/ 5177797 w 11460104"/>
              <a:gd name="connsiteY826" fmla="*/ 569843 h 13998542"/>
              <a:gd name="connsiteX827" fmla="*/ 5183861 w 11460104"/>
              <a:gd name="connsiteY827" fmla="*/ 608749 h 13998542"/>
              <a:gd name="connsiteX828" fmla="*/ 5189290 w 11460104"/>
              <a:gd name="connsiteY828" fmla="*/ 624665 h 13998542"/>
              <a:gd name="connsiteX829" fmla="*/ 5176298 w 11460104"/>
              <a:gd name="connsiteY829" fmla="*/ 608946 h 13998542"/>
              <a:gd name="connsiteX830" fmla="*/ 5118310 w 11460104"/>
              <a:gd name="connsiteY830" fmla="*/ 610464 h 13998542"/>
              <a:gd name="connsiteX831" fmla="*/ 5124374 w 11460104"/>
              <a:gd name="connsiteY831" fmla="*/ 649370 h 13998542"/>
              <a:gd name="connsiteX832" fmla="*/ 5138512 w 11460104"/>
              <a:gd name="connsiteY832" fmla="*/ 707596 h 13998542"/>
              <a:gd name="connsiteX833" fmla="*/ 5160725 w 11460104"/>
              <a:gd name="connsiteY833" fmla="*/ 785144 h 13998542"/>
              <a:gd name="connsiteX834" fmla="*/ 5121682 w 11460104"/>
              <a:gd name="connsiteY834" fmla="*/ 642930 h 13998542"/>
              <a:gd name="connsiteX835" fmla="*/ 5095959 w 11460104"/>
              <a:gd name="connsiteY835" fmla="*/ 624071 h 13998542"/>
              <a:gd name="connsiteX836" fmla="*/ 5093471 w 11460104"/>
              <a:gd name="connsiteY836" fmla="*/ 721797 h 13998542"/>
              <a:gd name="connsiteX837" fmla="*/ 5128800 w 11460104"/>
              <a:gd name="connsiteY837" fmla="*/ 818533 h 13998542"/>
              <a:gd name="connsiteX838" fmla="*/ 5152205 w 11460104"/>
              <a:gd name="connsiteY838" fmla="*/ 941625 h 13998542"/>
              <a:gd name="connsiteX839" fmla="*/ 5114354 w 11460104"/>
              <a:gd name="connsiteY839" fmla="*/ 844955 h 13998542"/>
              <a:gd name="connsiteX840" fmla="*/ 5085088 w 11460104"/>
              <a:gd name="connsiteY840" fmla="*/ 787123 h 13998542"/>
              <a:gd name="connsiteX841" fmla="*/ 5068599 w 11460104"/>
              <a:gd name="connsiteY841" fmla="*/ 735469 h 13998542"/>
              <a:gd name="connsiteX842" fmla="*/ 5027408 w 11460104"/>
              <a:gd name="connsiteY842" fmla="*/ 703993 h 13998542"/>
              <a:gd name="connsiteX843" fmla="*/ 5026079 w 11460104"/>
              <a:gd name="connsiteY843" fmla="*/ 749603 h 13998542"/>
              <a:gd name="connsiteX844" fmla="*/ 5038377 w 11460104"/>
              <a:gd name="connsiteY844" fmla="*/ 833921 h 13998542"/>
              <a:gd name="connsiteX845" fmla="*/ 5047984 w 11460104"/>
              <a:gd name="connsiteY845" fmla="*/ 911798 h 13998542"/>
              <a:gd name="connsiteX846" fmla="*/ 4997016 w 11460104"/>
              <a:gd name="connsiteY846" fmla="*/ 795939 h 13998542"/>
              <a:gd name="connsiteX847" fmla="*/ 4986793 w 11460104"/>
              <a:gd name="connsiteY847" fmla="*/ 887357 h 13998542"/>
              <a:gd name="connsiteX848" fmla="*/ 4985667 w 11460104"/>
              <a:gd name="connsiteY848" fmla="*/ 1037134 h 13998542"/>
              <a:gd name="connsiteX849" fmla="*/ 4963900 w 11460104"/>
              <a:gd name="connsiteY849" fmla="*/ 783784 h 13998542"/>
              <a:gd name="connsiteX850" fmla="*/ 4936677 w 11460104"/>
              <a:gd name="connsiteY850" fmla="*/ 804028 h 13998542"/>
              <a:gd name="connsiteX851" fmla="*/ 4907444 w 11460104"/>
              <a:gd name="connsiteY851" fmla="*/ 843858 h 13998542"/>
              <a:gd name="connsiteX852" fmla="*/ 4877413 w 11460104"/>
              <a:gd name="connsiteY852" fmla="*/ 853189 h 13998542"/>
              <a:gd name="connsiteX853" fmla="*/ 0 w 11460104"/>
              <a:gd name="connsiteY853" fmla="*/ 11048479 h 13998542"/>
              <a:gd name="connsiteX854" fmla="*/ 5240380 w 11460104"/>
              <a:gd name="connsiteY854" fmla="*/ 0 h 13998542"/>
              <a:gd name="connsiteX855" fmla="*/ 9579745 w 11460104"/>
              <a:gd name="connsiteY855" fmla="*/ 2058195 h 13998542"/>
              <a:gd name="connsiteX856" fmla="*/ 9564183 w 11460104"/>
              <a:gd name="connsiteY856" fmla="*/ 2059547 h 13998542"/>
              <a:gd name="connsiteX857" fmla="*/ 9359139 w 11460104"/>
              <a:gd name="connsiteY857" fmla="*/ 2105365 h 13998542"/>
              <a:gd name="connsiteX858" fmla="*/ 9230987 w 11460104"/>
              <a:gd name="connsiteY858" fmla="*/ 2174091 h 13998542"/>
              <a:gd name="connsiteX859" fmla="*/ 9154096 w 11460104"/>
              <a:gd name="connsiteY859" fmla="*/ 2204636 h 13998542"/>
              <a:gd name="connsiteX860" fmla="*/ 9096428 w 11460104"/>
              <a:gd name="connsiteY860" fmla="*/ 2212273 h 13998542"/>
              <a:gd name="connsiteX861" fmla="*/ 9090020 w 11460104"/>
              <a:gd name="connsiteY861" fmla="*/ 2235182 h 13998542"/>
              <a:gd name="connsiteX862" fmla="*/ 9006721 w 11460104"/>
              <a:gd name="connsiteY862" fmla="*/ 2250454 h 13998542"/>
              <a:gd name="connsiteX863" fmla="*/ 9019537 w 11460104"/>
              <a:gd name="connsiteY863" fmla="*/ 2296271 h 13998542"/>
              <a:gd name="connsiteX864" fmla="*/ 9000314 w 11460104"/>
              <a:gd name="connsiteY864" fmla="*/ 2288634 h 13998542"/>
              <a:gd name="connsiteX865" fmla="*/ 8936237 w 11460104"/>
              <a:gd name="connsiteY865" fmla="*/ 2326817 h 13998542"/>
              <a:gd name="connsiteX866" fmla="*/ 9000314 w 11460104"/>
              <a:gd name="connsiteY866" fmla="*/ 2403179 h 13998542"/>
              <a:gd name="connsiteX867" fmla="*/ 9096428 w 11460104"/>
              <a:gd name="connsiteY867" fmla="*/ 2426087 h 13998542"/>
              <a:gd name="connsiteX868" fmla="*/ 9110795 w 11460104"/>
              <a:gd name="connsiteY868" fmla="*/ 2441002 h 13998542"/>
              <a:gd name="connsiteX869" fmla="*/ 9112559 w 11460104"/>
              <a:gd name="connsiteY869" fmla="*/ 2442806 h 13998542"/>
              <a:gd name="connsiteX870" fmla="*/ 9111246 w 11460104"/>
              <a:gd name="connsiteY870" fmla="*/ 2442314 h 13998542"/>
              <a:gd name="connsiteX871" fmla="*/ 9077204 w 11460104"/>
              <a:gd name="connsiteY871" fmla="*/ 2433724 h 13998542"/>
              <a:gd name="connsiteX872" fmla="*/ 9090020 w 11460104"/>
              <a:gd name="connsiteY872" fmla="*/ 2479542 h 13998542"/>
              <a:gd name="connsiteX873" fmla="*/ 9102149 w 11460104"/>
              <a:gd name="connsiteY873" fmla="*/ 2497488 h 13998542"/>
              <a:gd name="connsiteX874" fmla="*/ 9089269 w 11460104"/>
              <a:gd name="connsiteY874" fmla="*/ 2488729 h 13998542"/>
              <a:gd name="connsiteX875" fmla="*/ 9070797 w 11460104"/>
              <a:gd name="connsiteY875" fmla="*/ 2479542 h 13998542"/>
              <a:gd name="connsiteX876" fmla="*/ 8923422 w 11460104"/>
              <a:gd name="connsiteY876" fmla="*/ 2479542 h 13998542"/>
              <a:gd name="connsiteX877" fmla="*/ 8936238 w 11460104"/>
              <a:gd name="connsiteY877" fmla="*/ 2525359 h 13998542"/>
              <a:gd name="connsiteX878" fmla="*/ 8968276 w 11460104"/>
              <a:gd name="connsiteY878" fmla="*/ 2594085 h 13998542"/>
              <a:gd name="connsiteX879" fmla="*/ 9019537 w 11460104"/>
              <a:gd name="connsiteY879" fmla="*/ 2685720 h 13998542"/>
              <a:gd name="connsiteX880" fmla="*/ 8929830 w 11460104"/>
              <a:gd name="connsiteY880" fmla="*/ 2517722 h 13998542"/>
              <a:gd name="connsiteX881" fmla="*/ 8865754 w 11460104"/>
              <a:gd name="connsiteY881" fmla="*/ 2494814 h 13998542"/>
              <a:gd name="connsiteX882" fmla="*/ 8852938 w 11460104"/>
              <a:gd name="connsiteY882" fmla="*/ 2609358 h 13998542"/>
              <a:gd name="connsiteX883" fmla="*/ 8936237 w 11460104"/>
              <a:gd name="connsiteY883" fmla="*/ 2723902 h 13998542"/>
              <a:gd name="connsiteX884" fmla="*/ 8987498 w 11460104"/>
              <a:gd name="connsiteY884" fmla="*/ 2868990 h 13998542"/>
              <a:gd name="connsiteX885" fmla="*/ 8897792 w 11460104"/>
              <a:gd name="connsiteY885" fmla="*/ 2754447 h 13998542"/>
              <a:gd name="connsiteX886" fmla="*/ 8827308 w 11460104"/>
              <a:gd name="connsiteY886" fmla="*/ 2685721 h 13998542"/>
              <a:gd name="connsiteX887" fmla="*/ 8788863 w 11460104"/>
              <a:gd name="connsiteY887" fmla="*/ 2624630 h 13998542"/>
              <a:gd name="connsiteX888" fmla="*/ 8686341 w 11460104"/>
              <a:gd name="connsiteY888" fmla="*/ 2586449 h 13998542"/>
              <a:gd name="connsiteX889" fmla="*/ 8679934 w 11460104"/>
              <a:gd name="connsiteY889" fmla="*/ 2639902 h 13998542"/>
              <a:gd name="connsiteX890" fmla="*/ 8705564 w 11460104"/>
              <a:gd name="connsiteY890" fmla="*/ 2739174 h 13998542"/>
              <a:gd name="connsiteX891" fmla="*/ 8724787 w 11460104"/>
              <a:gd name="connsiteY891" fmla="*/ 2830809 h 13998542"/>
              <a:gd name="connsiteX892" fmla="*/ 8603042 w 11460104"/>
              <a:gd name="connsiteY892" fmla="*/ 2693356 h 13998542"/>
              <a:gd name="connsiteX893" fmla="*/ 8571004 w 11460104"/>
              <a:gd name="connsiteY893" fmla="*/ 2800264 h 13998542"/>
              <a:gd name="connsiteX894" fmla="*/ 8558189 w 11460104"/>
              <a:gd name="connsiteY894" fmla="*/ 2975898 h 13998542"/>
              <a:gd name="connsiteX895" fmla="*/ 8519743 w 11460104"/>
              <a:gd name="connsiteY895" fmla="*/ 2678084 h 13998542"/>
              <a:gd name="connsiteX896" fmla="*/ 8449260 w 11460104"/>
              <a:gd name="connsiteY896" fmla="*/ 2700993 h 13998542"/>
              <a:gd name="connsiteX897" fmla="*/ 8372369 w 11460104"/>
              <a:gd name="connsiteY897" fmla="*/ 2746810 h 13998542"/>
              <a:gd name="connsiteX898" fmla="*/ 8295477 w 11460104"/>
              <a:gd name="connsiteY898" fmla="*/ 2815536 h 13998542"/>
              <a:gd name="connsiteX899" fmla="*/ 8404407 w 11460104"/>
              <a:gd name="connsiteY899" fmla="*/ 3029351 h 13998542"/>
              <a:gd name="connsiteX900" fmla="*/ 8321108 w 11460104"/>
              <a:gd name="connsiteY900" fmla="*/ 2884263 h 13998542"/>
              <a:gd name="connsiteX901" fmla="*/ 8224994 w 11460104"/>
              <a:gd name="connsiteY901" fmla="*/ 2853717 h 13998542"/>
              <a:gd name="connsiteX902" fmla="*/ 8186548 w 11460104"/>
              <a:gd name="connsiteY902" fmla="*/ 3120987 h 13998542"/>
              <a:gd name="connsiteX903" fmla="*/ 8103249 w 11460104"/>
              <a:gd name="connsiteY903" fmla="*/ 3143895 h 13998542"/>
              <a:gd name="connsiteX904" fmla="*/ 8103249 w 11460104"/>
              <a:gd name="connsiteY904" fmla="*/ 3235530 h 13998542"/>
              <a:gd name="connsiteX905" fmla="*/ 8045580 w 11460104"/>
              <a:gd name="connsiteY905" fmla="*/ 3189713 h 13998542"/>
              <a:gd name="connsiteX906" fmla="*/ 7975097 w 11460104"/>
              <a:gd name="connsiteY906" fmla="*/ 3296620 h 13998542"/>
              <a:gd name="connsiteX907" fmla="*/ 7923836 w 11460104"/>
              <a:gd name="connsiteY907" fmla="*/ 3321915 h 13998542"/>
              <a:gd name="connsiteX908" fmla="*/ 7911021 w 11460104"/>
              <a:gd name="connsiteY908" fmla="*/ 3395891 h 13998542"/>
              <a:gd name="connsiteX909" fmla="*/ 7911021 w 11460104"/>
              <a:gd name="connsiteY909" fmla="*/ 3487526 h 13998542"/>
              <a:gd name="connsiteX910" fmla="*/ 7949467 w 11460104"/>
              <a:gd name="connsiteY910" fmla="*/ 3518072 h 13998542"/>
              <a:gd name="connsiteX911" fmla="*/ 7994320 w 11460104"/>
              <a:gd name="connsiteY911" fmla="*/ 3525708 h 13998542"/>
              <a:gd name="connsiteX912" fmla="*/ 8045581 w 11460104"/>
              <a:gd name="connsiteY912" fmla="*/ 3495163 h 13998542"/>
              <a:gd name="connsiteX913" fmla="*/ 8013542 w 11460104"/>
              <a:gd name="connsiteY913" fmla="*/ 3586798 h 13998542"/>
              <a:gd name="connsiteX914" fmla="*/ 7975097 w 11460104"/>
              <a:gd name="connsiteY914" fmla="*/ 3770068 h 13998542"/>
              <a:gd name="connsiteX915" fmla="*/ 7975097 w 11460104"/>
              <a:gd name="connsiteY915" fmla="*/ 3738923 h 13998542"/>
              <a:gd name="connsiteX916" fmla="*/ 7975497 w 11460104"/>
              <a:gd name="connsiteY916" fmla="*/ 3737137 h 13998542"/>
              <a:gd name="connsiteX917" fmla="*/ 7975097 w 11460104"/>
              <a:gd name="connsiteY917" fmla="*/ 3708978 h 13998542"/>
              <a:gd name="connsiteX918" fmla="*/ 7975097 w 11460104"/>
              <a:gd name="connsiteY918" fmla="*/ 3738923 h 13998542"/>
              <a:gd name="connsiteX919" fmla="*/ 7973746 w 11460104"/>
              <a:gd name="connsiteY919" fmla="*/ 3744952 h 13998542"/>
              <a:gd name="connsiteX920" fmla="*/ 7968689 w 11460104"/>
              <a:gd name="connsiteY920" fmla="*/ 3762432 h 13998542"/>
              <a:gd name="connsiteX921" fmla="*/ 7917429 w 11460104"/>
              <a:gd name="connsiteY921" fmla="*/ 3815886 h 13998542"/>
              <a:gd name="connsiteX922" fmla="*/ 7802092 w 11460104"/>
              <a:gd name="connsiteY922" fmla="*/ 3854067 h 13998542"/>
              <a:gd name="connsiteX923" fmla="*/ 7757239 w 11460104"/>
              <a:gd name="connsiteY923" fmla="*/ 3938066 h 13998542"/>
              <a:gd name="connsiteX924" fmla="*/ 7635494 w 11460104"/>
              <a:gd name="connsiteY924" fmla="*/ 4067882 h 13998542"/>
              <a:gd name="connsiteX925" fmla="*/ 7667532 w 11460104"/>
              <a:gd name="connsiteY925" fmla="*/ 4106064 h 13998542"/>
              <a:gd name="connsiteX926" fmla="*/ 7738016 w 11460104"/>
              <a:gd name="connsiteY926" fmla="*/ 4167153 h 13998542"/>
              <a:gd name="connsiteX927" fmla="*/ 7776462 w 11460104"/>
              <a:gd name="connsiteY927" fmla="*/ 4228243 h 13998542"/>
              <a:gd name="connsiteX928" fmla="*/ 7699570 w 11460104"/>
              <a:gd name="connsiteY928" fmla="*/ 4251152 h 13998542"/>
              <a:gd name="connsiteX929" fmla="*/ 7770054 w 11460104"/>
              <a:gd name="connsiteY929" fmla="*/ 4258788 h 13998542"/>
              <a:gd name="connsiteX930" fmla="*/ 7827722 w 11460104"/>
              <a:gd name="connsiteY930" fmla="*/ 4220607 h 13998542"/>
              <a:gd name="connsiteX931" fmla="*/ 7917429 w 11460104"/>
              <a:gd name="connsiteY931" fmla="*/ 4212970 h 13998542"/>
              <a:gd name="connsiteX932" fmla="*/ 7930244 w 11460104"/>
              <a:gd name="connsiteY932" fmla="*/ 4258788 h 13998542"/>
              <a:gd name="connsiteX933" fmla="*/ 7911021 w 11460104"/>
              <a:gd name="connsiteY933" fmla="*/ 4304605 h 13998542"/>
              <a:gd name="connsiteX934" fmla="*/ 7834130 w 11460104"/>
              <a:gd name="connsiteY934" fmla="*/ 4327514 h 13998542"/>
              <a:gd name="connsiteX935" fmla="*/ 7718793 w 11460104"/>
              <a:gd name="connsiteY935" fmla="*/ 4365696 h 13998542"/>
              <a:gd name="connsiteX936" fmla="*/ 7757239 w 11460104"/>
              <a:gd name="connsiteY936" fmla="*/ 4380968 h 13998542"/>
              <a:gd name="connsiteX937" fmla="*/ 7834130 w 11460104"/>
              <a:gd name="connsiteY937" fmla="*/ 4480240 h 13998542"/>
              <a:gd name="connsiteX938" fmla="*/ 7782869 w 11460104"/>
              <a:gd name="connsiteY938" fmla="*/ 4526057 h 13998542"/>
              <a:gd name="connsiteX939" fmla="*/ 7846945 w 11460104"/>
              <a:gd name="connsiteY939" fmla="*/ 4610056 h 13998542"/>
              <a:gd name="connsiteX940" fmla="*/ 7917429 w 11460104"/>
              <a:gd name="connsiteY940" fmla="*/ 4610056 h 13998542"/>
              <a:gd name="connsiteX941" fmla="*/ 8103249 w 11460104"/>
              <a:gd name="connsiteY941" fmla="*/ 4564239 h 13998542"/>
              <a:gd name="connsiteX942" fmla="*/ 8257032 w 11460104"/>
              <a:gd name="connsiteY942" fmla="*/ 4655873 h 13998542"/>
              <a:gd name="connsiteX943" fmla="*/ 8295477 w 11460104"/>
              <a:gd name="connsiteY943" fmla="*/ 4686418 h 13998542"/>
              <a:gd name="connsiteX944" fmla="*/ 8301885 w 11460104"/>
              <a:gd name="connsiteY944" fmla="*/ 4770417 h 13998542"/>
              <a:gd name="connsiteX945" fmla="*/ 8314700 w 11460104"/>
              <a:gd name="connsiteY945" fmla="*/ 4816235 h 13998542"/>
              <a:gd name="connsiteX946" fmla="*/ 8365961 w 11460104"/>
              <a:gd name="connsiteY946" fmla="*/ 4930778 h 13998542"/>
              <a:gd name="connsiteX947" fmla="*/ 8385184 w 11460104"/>
              <a:gd name="connsiteY947" fmla="*/ 5274410 h 13998542"/>
              <a:gd name="connsiteX948" fmla="*/ 8410814 w 11460104"/>
              <a:gd name="connsiteY948" fmla="*/ 5343137 h 13998542"/>
              <a:gd name="connsiteX949" fmla="*/ 8449260 w 11460104"/>
              <a:gd name="connsiteY949" fmla="*/ 5472952 h 13998542"/>
              <a:gd name="connsiteX950" fmla="*/ 8519743 w 11460104"/>
              <a:gd name="connsiteY950" fmla="*/ 5534043 h 13998542"/>
              <a:gd name="connsiteX951" fmla="*/ 8609450 w 11460104"/>
              <a:gd name="connsiteY951" fmla="*/ 5602769 h 13998542"/>
              <a:gd name="connsiteX952" fmla="*/ 8654303 w 11460104"/>
              <a:gd name="connsiteY952" fmla="*/ 5686768 h 13998542"/>
              <a:gd name="connsiteX953" fmla="*/ 8532559 w 11460104"/>
              <a:gd name="connsiteY953" fmla="*/ 5656222 h 13998542"/>
              <a:gd name="connsiteX954" fmla="*/ 8513336 w 11460104"/>
              <a:gd name="connsiteY954" fmla="*/ 5847129 h 13998542"/>
              <a:gd name="connsiteX955" fmla="*/ 8551781 w 11460104"/>
              <a:gd name="connsiteY955" fmla="*/ 6038035 h 13998542"/>
              <a:gd name="connsiteX956" fmla="*/ 8532559 w 11460104"/>
              <a:gd name="connsiteY956" fmla="*/ 6381667 h 13998542"/>
              <a:gd name="connsiteX957" fmla="*/ 8558189 w 11460104"/>
              <a:gd name="connsiteY957" fmla="*/ 6450393 h 13998542"/>
              <a:gd name="connsiteX958" fmla="*/ 8622265 w 11460104"/>
              <a:gd name="connsiteY958" fmla="*/ 6580209 h 13998542"/>
              <a:gd name="connsiteX959" fmla="*/ 8641488 w 11460104"/>
              <a:gd name="connsiteY959" fmla="*/ 6732935 h 13998542"/>
              <a:gd name="connsiteX960" fmla="*/ 8692749 w 11460104"/>
              <a:gd name="connsiteY960" fmla="*/ 6839842 h 13998542"/>
              <a:gd name="connsiteX961" fmla="*/ 8744010 w 11460104"/>
              <a:gd name="connsiteY961" fmla="*/ 6977294 h 13998542"/>
              <a:gd name="connsiteX962" fmla="*/ 8776047 w 11460104"/>
              <a:gd name="connsiteY962" fmla="*/ 7015475 h 13998542"/>
              <a:gd name="connsiteX963" fmla="*/ 8814493 w 11460104"/>
              <a:gd name="connsiteY963" fmla="*/ 7046021 h 13998542"/>
              <a:gd name="connsiteX964" fmla="*/ 8910607 w 11460104"/>
              <a:gd name="connsiteY964" fmla="*/ 7122383 h 13998542"/>
              <a:gd name="connsiteX965" fmla="*/ 9038759 w 11460104"/>
              <a:gd name="connsiteY965" fmla="*/ 7145292 h 13998542"/>
              <a:gd name="connsiteX966" fmla="*/ 9090020 w 11460104"/>
              <a:gd name="connsiteY966" fmla="*/ 6908568 h 13998542"/>
              <a:gd name="connsiteX967" fmla="*/ 9102835 w 11460104"/>
              <a:gd name="connsiteY967" fmla="*/ 6862751 h 13998542"/>
              <a:gd name="connsiteX968" fmla="*/ 9102835 w 11460104"/>
              <a:gd name="connsiteY968" fmla="*/ 6816933 h 13998542"/>
              <a:gd name="connsiteX969" fmla="*/ 9198949 w 11460104"/>
              <a:gd name="connsiteY969" fmla="*/ 6519119 h 13998542"/>
              <a:gd name="connsiteX970" fmla="*/ 9269433 w 11460104"/>
              <a:gd name="connsiteY970" fmla="*/ 6496211 h 13998542"/>
              <a:gd name="connsiteX971" fmla="*/ 9384770 w 11460104"/>
              <a:gd name="connsiteY971" fmla="*/ 6419848 h 13998542"/>
              <a:gd name="connsiteX972" fmla="*/ 9461661 w 11460104"/>
              <a:gd name="connsiteY972" fmla="*/ 6328213 h 13998542"/>
              <a:gd name="connsiteX973" fmla="*/ 9551368 w 11460104"/>
              <a:gd name="connsiteY973" fmla="*/ 6099125 h 13998542"/>
              <a:gd name="connsiteX974" fmla="*/ 9609036 w 11460104"/>
              <a:gd name="connsiteY974" fmla="*/ 6060944 h 13998542"/>
              <a:gd name="connsiteX975" fmla="*/ 9846118 w 11460104"/>
              <a:gd name="connsiteY975" fmla="*/ 5992217 h 13998542"/>
              <a:gd name="connsiteX976" fmla="*/ 9910194 w 11460104"/>
              <a:gd name="connsiteY976" fmla="*/ 5923491 h 13998542"/>
              <a:gd name="connsiteX977" fmla="*/ 9987085 w 11460104"/>
              <a:gd name="connsiteY977" fmla="*/ 5824220 h 13998542"/>
              <a:gd name="connsiteX978" fmla="*/ 10025530 w 11460104"/>
              <a:gd name="connsiteY978" fmla="*/ 5763131 h 13998542"/>
              <a:gd name="connsiteX979" fmla="*/ 9878155 w 11460104"/>
              <a:gd name="connsiteY979" fmla="*/ 5572224 h 13998542"/>
              <a:gd name="connsiteX980" fmla="*/ 9935824 w 11460104"/>
              <a:gd name="connsiteY980" fmla="*/ 5640950 h 13998542"/>
              <a:gd name="connsiteX981" fmla="*/ 9993492 w 11460104"/>
              <a:gd name="connsiteY981" fmla="*/ 5694404 h 13998542"/>
              <a:gd name="connsiteX982" fmla="*/ 10070383 w 11460104"/>
              <a:gd name="connsiteY982" fmla="*/ 5625678 h 13998542"/>
              <a:gd name="connsiteX983" fmla="*/ 10057568 w 11460104"/>
              <a:gd name="connsiteY983" fmla="*/ 5579860 h 13998542"/>
              <a:gd name="connsiteX984" fmla="*/ 10019123 w 11460104"/>
              <a:gd name="connsiteY984" fmla="*/ 5434772 h 13998542"/>
              <a:gd name="connsiteX985" fmla="*/ 10057568 w 11460104"/>
              <a:gd name="connsiteY985" fmla="*/ 5411862 h 13998542"/>
              <a:gd name="connsiteX986" fmla="*/ 10063976 w 11460104"/>
              <a:gd name="connsiteY986" fmla="*/ 5343136 h 13998542"/>
              <a:gd name="connsiteX987" fmla="*/ 10057568 w 11460104"/>
              <a:gd name="connsiteY987" fmla="*/ 5251501 h 13998542"/>
              <a:gd name="connsiteX988" fmla="*/ 9961454 w 11460104"/>
              <a:gd name="connsiteY988" fmla="*/ 5121685 h 13998542"/>
              <a:gd name="connsiteX989" fmla="*/ 10147275 w 11460104"/>
              <a:gd name="connsiteY989" fmla="*/ 5091140 h 13998542"/>
              <a:gd name="connsiteX990" fmla="*/ 10083199 w 11460104"/>
              <a:gd name="connsiteY990" fmla="*/ 4999505 h 13998542"/>
              <a:gd name="connsiteX991" fmla="*/ 10166498 w 11460104"/>
              <a:gd name="connsiteY991" fmla="*/ 4946051 h 13998542"/>
              <a:gd name="connsiteX992" fmla="*/ 10192128 w 11460104"/>
              <a:gd name="connsiteY992" fmla="*/ 4900233 h 13998542"/>
              <a:gd name="connsiteX993" fmla="*/ 10057568 w 11460104"/>
              <a:gd name="connsiteY993" fmla="*/ 4709327 h 13998542"/>
              <a:gd name="connsiteX994" fmla="*/ 10096014 w 11460104"/>
              <a:gd name="connsiteY994" fmla="*/ 4785690 h 13998542"/>
              <a:gd name="connsiteX995" fmla="*/ 10172905 w 11460104"/>
              <a:gd name="connsiteY995" fmla="*/ 4663510 h 13998542"/>
              <a:gd name="connsiteX996" fmla="*/ 10160090 w 11460104"/>
              <a:gd name="connsiteY996" fmla="*/ 4617693 h 13998542"/>
              <a:gd name="connsiteX997" fmla="*/ 10140867 w 11460104"/>
              <a:gd name="connsiteY997" fmla="*/ 4564238 h 13998542"/>
              <a:gd name="connsiteX998" fmla="*/ 10044753 w 11460104"/>
              <a:gd name="connsiteY998" fmla="*/ 4472603 h 13998542"/>
              <a:gd name="connsiteX999" fmla="*/ 10057568 w 11460104"/>
              <a:gd name="connsiteY999" fmla="*/ 4403877 h 13998542"/>
              <a:gd name="connsiteX1000" fmla="*/ 10217759 w 11460104"/>
              <a:gd name="connsiteY1000" fmla="*/ 4319878 h 13998542"/>
              <a:gd name="connsiteX1001" fmla="*/ 10076791 w 11460104"/>
              <a:gd name="connsiteY1001" fmla="*/ 4067882 h 13998542"/>
              <a:gd name="connsiteX1002" fmla="*/ 10096014 w 11460104"/>
              <a:gd name="connsiteY1002" fmla="*/ 3892248 h 13998542"/>
              <a:gd name="connsiteX1003" fmla="*/ 10179313 w 11460104"/>
              <a:gd name="connsiteY1003" fmla="*/ 3907521 h 13998542"/>
              <a:gd name="connsiteX1004" fmla="*/ 10172905 w 11460104"/>
              <a:gd name="connsiteY1004" fmla="*/ 3724251 h 13998542"/>
              <a:gd name="connsiteX1005" fmla="*/ 10166497 w 11460104"/>
              <a:gd name="connsiteY1005" fmla="*/ 3579162 h 13998542"/>
              <a:gd name="connsiteX1006" fmla="*/ 10185721 w 11460104"/>
              <a:gd name="connsiteY1006" fmla="*/ 3594434 h 13998542"/>
              <a:gd name="connsiteX1007" fmla="*/ 10243389 w 11460104"/>
              <a:gd name="connsiteY1007" fmla="*/ 3602071 h 13998542"/>
              <a:gd name="connsiteX1008" fmla="*/ 10275427 w 11460104"/>
              <a:gd name="connsiteY1008" fmla="*/ 3518072 h 13998542"/>
              <a:gd name="connsiteX1009" fmla="*/ 10160090 w 11460104"/>
              <a:gd name="connsiteY1009" fmla="*/ 3502800 h 13998542"/>
              <a:gd name="connsiteX1010" fmla="*/ 10166497 w 11460104"/>
              <a:gd name="connsiteY1010" fmla="*/ 3449345 h 13998542"/>
              <a:gd name="connsiteX1011" fmla="*/ 10307465 w 11460104"/>
              <a:gd name="connsiteY1011" fmla="*/ 3434073 h 13998542"/>
              <a:gd name="connsiteX1012" fmla="*/ 10327289 w 11460104"/>
              <a:gd name="connsiteY1012" fmla="*/ 3327762 h 13998542"/>
              <a:gd name="connsiteX1013" fmla="*/ 10327353 w 11460104"/>
              <a:gd name="connsiteY1013" fmla="*/ 3326667 h 13998542"/>
              <a:gd name="connsiteX1014" fmla="*/ 10354176 w 11460104"/>
              <a:gd name="connsiteY1014" fmla="*/ 3322744 h 13998542"/>
              <a:gd name="connsiteX1015" fmla="*/ 10409986 w 11460104"/>
              <a:gd name="connsiteY1015" fmla="*/ 3220258 h 13998542"/>
              <a:gd name="connsiteX1016" fmla="*/ 10461247 w 11460104"/>
              <a:gd name="connsiteY1016" fmla="*/ 3098078 h 13998542"/>
              <a:gd name="connsiteX1017" fmla="*/ 10531731 w 11460104"/>
              <a:gd name="connsiteY1017" fmla="*/ 3021715 h 13998542"/>
              <a:gd name="connsiteX1018" fmla="*/ 10506101 w 11460104"/>
              <a:gd name="connsiteY1018" fmla="*/ 2899535 h 13998542"/>
              <a:gd name="connsiteX1019" fmla="*/ 10467655 w 11460104"/>
              <a:gd name="connsiteY1019" fmla="*/ 2884263 h 13998542"/>
              <a:gd name="connsiteX1020" fmla="*/ 10365133 w 11460104"/>
              <a:gd name="connsiteY1020" fmla="*/ 2846082 h 13998542"/>
              <a:gd name="connsiteX1021" fmla="*/ 10275426 w 11460104"/>
              <a:gd name="connsiteY1021" fmla="*/ 2914808 h 13998542"/>
              <a:gd name="connsiteX1022" fmla="*/ 10234578 w 11460104"/>
              <a:gd name="connsiteY1022" fmla="*/ 2895717 h 13998542"/>
              <a:gd name="connsiteX1023" fmla="*/ 10227999 w 11460104"/>
              <a:gd name="connsiteY1023" fmla="*/ 2892468 h 13998542"/>
              <a:gd name="connsiteX1024" fmla="*/ 10227520 w 11460104"/>
              <a:gd name="connsiteY1024" fmla="*/ 2884561 h 13998542"/>
              <a:gd name="connsiteX1025" fmla="*/ 10217759 w 11460104"/>
              <a:gd name="connsiteY1025" fmla="*/ 2868990 h 13998542"/>
              <a:gd name="connsiteX1026" fmla="*/ 10184519 w 11460104"/>
              <a:gd name="connsiteY1026" fmla="*/ 2816968 h 13998542"/>
              <a:gd name="connsiteX1027" fmla="*/ 10183873 w 11460104"/>
              <a:gd name="connsiteY1027" fmla="*/ 2815500 h 13998542"/>
              <a:gd name="connsiteX1028" fmla="*/ 10181866 w 11460104"/>
              <a:gd name="connsiteY1028" fmla="*/ 2790182 h 13998542"/>
              <a:gd name="connsiteX1029" fmla="*/ 10172905 w 11460104"/>
              <a:gd name="connsiteY1029" fmla="*/ 2762083 h 13998542"/>
              <a:gd name="connsiteX1030" fmla="*/ 10173155 w 11460104"/>
              <a:gd name="connsiteY1030" fmla="*/ 2791136 h 13998542"/>
              <a:gd name="connsiteX1031" fmla="*/ 10183873 w 11460104"/>
              <a:gd name="connsiteY1031" fmla="*/ 2815500 h 13998542"/>
              <a:gd name="connsiteX1032" fmla="*/ 10184519 w 11460104"/>
              <a:gd name="connsiteY1032" fmla="*/ 2823650 h 13998542"/>
              <a:gd name="connsiteX1033" fmla="*/ 10198535 w 11460104"/>
              <a:gd name="connsiteY1033" fmla="*/ 2876627 h 13998542"/>
              <a:gd name="connsiteX1034" fmla="*/ 10212352 w 11460104"/>
              <a:gd name="connsiteY1034" fmla="*/ 2884740 h 13998542"/>
              <a:gd name="connsiteX1035" fmla="*/ 10227999 w 11460104"/>
              <a:gd name="connsiteY1035" fmla="*/ 2892468 h 13998542"/>
              <a:gd name="connsiteX1036" fmla="*/ 10228571 w 11460104"/>
              <a:gd name="connsiteY1036" fmla="*/ 2901921 h 13998542"/>
              <a:gd name="connsiteX1037" fmla="*/ 10236981 w 11460104"/>
              <a:gd name="connsiteY1037" fmla="*/ 2937717 h 13998542"/>
              <a:gd name="connsiteX1038" fmla="*/ 10256204 w 11460104"/>
              <a:gd name="connsiteY1038" fmla="*/ 2945353 h 13998542"/>
              <a:gd name="connsiteX1039" fmla="*/ 10262612 w 11460104"/>
              <a:gd name="connsiteY1039" fmla="*/ 2968261 h 13998542"/>
              <a:gd name="connsiteX1040" fmla="*/ 10275427 w 11460104"/>
              <a:gd name="connsiteY1040" fmla="*/ 3006443 h 13998542"/>
              <a:gd name="connsiteX1041" fmla="*/ 10249796 w 11460104"/>
              <a:gd name="connsiteY1041" fmla="*/ 2983534 h 13998542"/>
              <a:gd name="connsiteX1042" fmla="*/ 10198536 w 11460104"/>
              <a:gd name="connsiteY1042" fmla="*/ 2991170 h 13998542"/>
              <a:gd name="connsiteX1043" fmla="*/ 10147275 w 11460104"/>
              <a:gd name="connsiteY1043" fmla="*/ 2930081 h 13998542"/>
              <a:gd name="connsiteX1044" fmla="*/ 10134459 w 11460104"/>
              <a:gd name="connsiteY1044" fmla="*/ 2975898 h 13998542"/>
              <a:gd name="connsiteX1045" fmla="*/ 10096014 w 11460104"/>
              <a:gd name="connsiteY1045" fmla="*/ 3090442 h 13998542"/>
              <a:gd name="connsiteX1046" fmla="*/ 10057568 w 11460104"/>
              <a:gd name="connsiteY1046" fmla="*/ 3120987 h 13998542"/>
              <a:gd name="connsiteX1047" fmla="*/ 10006307 w 11460104"/>
              <a:gd name="connsiteY1047" fmla="*/ 3258439 h 13998542"/>
              <a:gd name="connsiteX1048" fmla="*/ 9980677 w 11460104"/>
              <a:gd name="connsiteY1048" fmla="*/ 3327166 h 13998542"/>
              <a:gd name="connsiteX1049" fmla="*/ 9955047 w 11460104"/>
              <a:gd name="connsiteY1049" fmla="*/ 3273711 h 13998542"/>
              <a:gd name="connsiteX1050" fmla="*/ 9999900 w 11460104"/>
              <a:gd name="connsiteY1050" fmla="*/ 3136260 h 13998542"/>
              <a:gd name="connsiteX1051" fmla="*/ 10070384 w 11460104"/>
              <a:gd name="connsiteY1051" fmla="*/ 3059897 h 13998542"/>
              <a:gd name="connsiteX1052" fmla="*/ 10044753 w 11460104"/>
              <a:gd name="connsiteY1052" fmla="*/ 2777355 h 13998542"/>
              <a:gd name="connsiteX1053" fmla="*/ 10006308 w 11460104"/>
              <a:gd name="connsiteY1053" fmla="*/ 2807901 h 13998542"/>
              <a:gd name="connsiteX1054" fmla="*/ 9955047 w 11460104"/>
              <a:gd name="connsiteY1054" fmla="*/ 2930080 h 13998542"/>
              <a:gd name="connsiteX1055" fmla="*/ 9890970 w 11460104"/>
              <a:gd name="connsiteY1055" fmla="*/ 2937717 h 13998542"/>
              <a:gd name="connsiteX1056" fmla="*/ 9833302 w 11460104"/>
              <a:gd name="connsiteY1056" fmla="*/ 2983534 h 13998542"/>
              <a:gd name="connsiteX1057" fmla="*/ 9839710 w 11460104"/>
              <a:gd name="connsiteY1057" fmla="*/ 2930081 h 13998542"/>
              <a:gd name="connsiteX1058" fmla="*/ 9903786 w 11460104"/>
              <a:gd name="connsiteY1058" fmla="*/ 2800264 h 13998542"/>
              <a:gd name="connsiteX1059" fmla="*/ 9762818 w 11460104"/>
              <a:gd name="connsiteY1059" fmla="*/ 2784992 h 13998542"/>
              <a:gd name="connsiteX1060" fmla="*/ 9570590 w 11460104"/>
              <a:gd name="connsiteY1060" fmla="*/ 2891899 h 13998542"/>
              <a:gd name="connsiteX1061" fmla="*/ 9525737 w 11460104"/>
              <a:gd name="connsiteY1061" fmla="*/ 2891899 h 13998542"/>
              <a:gd name="connsiteX1062" fmla="*/ 9576998 w 11460104"/>
              <a:gd name="connsiteY1062" fmla="*/ 2777355 h 13998542"/>
              <a:gd name="connsiteX1063" fmla="*/ 9634666 w 11460104"/>
              <a:gd name="connsiteY1063" fmla="*/ 2754447 h 13998542"/>
              <a:gd name="connsiteX1064" fmla="*/ 9653889 w 11460104"/>
              <a:gd name="connsiteY1064" fmla="*/ 2739174 h 13998542"/>
              <a:gd name="connsiteX1065" fmla="*/ 9692335 w 11460104"/>
              <a:gd name="connsiteY1065" fmla="*/ 2723901 h 13998542"/>
              <a:gd name="connsiteX1066" fmla="*/ 9884563 w 11460104"/>
              <a:gd name="connsiteY1066" fmla="*/ 2731538 h 13998542"/>
              <a:gd name="connsiteX1067" fmla="*/ 9923008 w 11460104"/>
              <a:gd name="connsiteY1067" fmla="*/ 2700992 h 13998542"/>
              <a:gd name="connsiteX1068" fmla="*/ 9961454 w 11460104"/>
              <a:gd name="connsiteY1068" fmla="*/ 2685720 h 13998542"/>
              <a:gd name="connsiteX1069" fmla="*/ 10025530 w 11460104"/>
              <a:gd name="connsiteY1069" fmla="*/ 2616994 h 13998542"/>
              <a:gd name="connsiteX1070" fmla="*/ 10051161 w 11460104"/>
              <a:gd name="connsiteY1070" fmla="*/ 2609358 h 13998542"/>
              <a:gd name="connsiteX1071" fmla="*/ 10057569 w 11460104"/>
              <a:gd name="connsiteY1071" fmla="*/ 2494814 h 13998542"/>
              <a:gd name="connsiteX1072" fmla="*/ 9993492 w 11460104"/>
              <a:gd name="connsiteY1072" fmla="*/ 2448996 h 13998542"/>
              <a:gd name="connsiteX1073" fmla="*/ 9967862 w 11460104"/>
              <a:gd name="connsiteY1073" fmla="*/ 2426087 h 13998542"/>
              <a:gd name="connsiteX1074" fmla="*/ 9916601 w 11460104"/>
              <a:gd name="connsiteY1074" fmla="*/ 2418451 h 13998542"/>
              <a:gd name="connsiteX1075" fmla="*/ 9878155 w 11460104"/>
              <a:gd name="connsiteY1075" fmla="*/ 2441360 h 13998542"/>
              <a:gd name="connsiteX1076" fmla="*/ 9884563 w 11460104"/>
              <a:gd name="connsiteY1076" fmla="*/ 2403179 h 13998542"/>
              <a:gd name="connsiteX1077" fmla="*/ 9890970 w 11460104"/>
              <a:gd name="connsiteY1077" fmla="*/ 2319180 h 13998542"/>
              <a:gd name="connsiteX1078" fmla="*/ 9775634 w 11460104"/>
              <a:gd name="connsiteY1078" fmla="*/ 2326816 h 13998542"/>
              <a:gd name="connsiteX1079" fmla="*/ 9609036 w 11460104"/>
              <a:gd name="connsiteY1079" fmla="*/ 2380270 h 13998542"/>
              <a:gd name="connsiteX1080" fmla="*/ 9493699 w 11460104"/>
              <a:gd name="connsiteY1080" fmla="*/ 2510086 h 13998542"/>
              <a:gd name="connsiteX1081" fmla="*/ 9454627 w 11460104"/>
              <a:gd name="connsiteY1081" fmla="*/ 2396288 h 13998542"/>
              <a:gd name="connsiteX1082" fmla="*/ 9425556 w 11460104"/>
              <a:gd name="connsiteY1082" fmla="*/ 2388531 h 13998542"/>
              <a:gd name="connsiteX1083" fmla="*/ 9436031 w 11460104"/>
              <a:gd name="connsiteY1083" fmla="*/ 2372634 h 13998542"/>
              <a:gd name="connsiteX1084" fmla="*/ 9602628 w 11460104"/>
              <a:gd name="connsiteY1084" fmla="*/ 2288635 h 13998542"/>
              <a:gd name="connsiteX1085" fmla="*/ 9769226 w 11460104"/>
              <a:gd name="connsiteY1085" fmla="*/ 2273363 h 13998542"/>
              <a:gd name="connsiteX1086" fmla="*/ 9852525 w 11460104"/>
              <a:gd name="connsiteY1086" fmla="*/ 2204636 h 13998542"/>
              <a:gd name="connsiteX1087" fmla="*/ 9837707 w 11460104"/>
              <a:gd name="connsiteY1087" fmla="*/ 2185546 h 13998542"/>
              <a:gd name="connsiteX1088" fmla="*/ 9829829 w 11460104"/>
              <a:gd name="connsiteY1088" fmla="*/ 2176812 h 13998542"/>
              <a:gd name="connsiteX1089" fmla="*/ 11460104 w 11460104"/>
              <a:gd name="connsiteY1089" fmla="*/ 2950064 h 13998542"/>
              <a:gd name="connsiteX1090" fmla="*/ 6219724 w 11460104"/>
              <a:gd name="connsiteY1090" fmla="*/ 13998542 h 1399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</a:cxnLst>
            <a:rect l="l" t="t" r="r" b="b"/>
            <a:pathLst>
              <a:path w="11460104" h="13998542">
                <a:moveTo>
                  <a:pt x="10262504" y="3321966"/>
                </a:moveTo>
                <a:lnTo>
                  <a:pt x="10262612" y="3321915"/>
                </a:lnTo>
                <a:cubicBezTo>
                  <a:pt x="10286640" y="3309029"/>
                  <a:pt x="10310669" y="3296620"/>
                  <a:pt x="10326688" y="3311893"/>
                </a:cubicBezTo>
                <a:cubicBezTo>
                  <a:pt x="10327489" y="3311893"/>
                  <a:pt x="10327889" y="3313444"/>
                  <a:pt x="10327965" y="3316203"/>
                </a:cubicBezTo>
                <a:lnTo>
                  <a:pt x="10327353" y="3326667"/>
                </a:lnTo>
                <a:lnTo>
                  <a:pt x="10320681" y="3327643"/>
                </a:lnTo>
                <a:cubicBezTo>
                  <a:pt x="10308566" y="3327762"/>
                  <a:pt x="10295576" y="3326599"/>
                  <a:pt x="10281928" y="3324846"/>
                </a:cubicBezTo>
                <a:close/>
                <a:moveTo>
                  <a:pt x="10103122" y="3369343"/>
                </a:moveTo>
                <a:cubicBezTo>
                  <a:pt x="10101621" y="3364153"/>
                  <a:pt x="10142469" y="3317620"/>
                  <a:pt x="10147275" y="3311893"/>
                </a:cubicBezTo>
                <a:cubicBezTo>
                  <a:pt x="10178512" y="3309984"/>
                  <a:pt x="10209749" y="3314040"/>
                  <a:pt x="10239234" y="3318515"/>
                </a:cubicBezTo>
                <a:lnTo>
                  <a:pt x="10262504" y="3321966"/>
                </a:lnTo>
                <a:lnTo>
                  <a:pt x="10227570" y="3338202"/>
                </a:lnTo>
                <a:cubicBezTo>
                  <a:pt x="10216557" y="3341483"/>
                  <a:pt x="10206545" y="3341483"/>
                  <a:pt x="10198536" y="3334802"/>
                </a:cubicBezTo>
                <a:cubicBezTo>
                  <a:pt x="10156886" y="3327165"/>
                  <a:pt x="10144071" y="3315711"/>
                  <a:pt x="10121644" y="3357710"/>
                </a:cubicBezTo>
                <a:cubicBezTo>
                  <a:pt x="10108829" y="3368211"/>
                  <a:pt x="10103623" y="3371074"/>
                  <a:pt x="10103122" y="3369343"/>
                </a:cubicBezTo>
                <a:close/>
                <a:moveTo>
                  <a:pt x="9579745" y="2058195"/>
                </a:moveTo>
                <a:lnTo>
                  <a:pt x="9602628" y="2056207"/>
                </a:lnTo>
                <a:cubicBezTo>
                  <a:pt x="9614643" y="2058593"/>
                  <a:pt x="9626657" y="2063366"/>
                  <a:pt x="9641074" y="2067183"/>
                </a:cubicBezTo>
                <a:cubicBezTo>
                  <a:pt x="9695539" y="2113002"/>
                  <a:pt x="9766022" y="2124455"/>
                  <a:pt x="9820487" y="2166455"/>
                </a:cubicBezTo>
                <a:lnTo>
                  <a:pt x="9829829" y="2176812"/>
                </a:lnTo>
                <a:close/>
                <a:moveTo>
                  <a:pt x="9418470" y="2395114"/>
                </a:moveTo>
                <a:lnTo>
                  <a:pt x="9423215" y="2387906"/>
                </a:lnTo>
                <a:lnTo>
                  <a:pt x="9425556" y="2388531"/>
                </a:lnTo>
                <a:lnTo>
                  <a:pt x="9424317" y="2390412"/>
                </a:lnTo>
                <a:close/>
                <a:moveTo>
                  <a:pt x="9378362" y="2410815"/>
                </a:moveTo>
                <a:cubicBezTo>
                  <a:pt x="9392779" y="2406997"/>
                  <a:pt x="9403192" y="2405088"/>
                  <a:pt x="9412002" y="2400315"/>
                </a:cubicBezTo>
                <a:lnTo>
                  <a:pt x="9418470" y="2395114"/>
                </a:lnTo>
                <a:lnTo>
                  <a:pt x="9409900" y="2408130"/>
                </a:lnTo>
                <a:cubicBezTo>
                  <a:pt x="9399388" y="2427281"/>
                  <a:pt x="9395182" y="2439451"/>
                  <a:pt x="9378362" y="2410815"/>
                </a:cubicBezTo>
                <a:close/>
                <a:moveTo>
                  <a:pt x="9102149" y="2497488"/>
                </a:moveTo>
                <a:lnTo>
                  <a:pt x="9108041" y="2501496"/>
                </a:lnTo>
                <a:cubicBezTo>
                  <a:pt x="9119656" y="2510086"/>
                  <a:pt x="9128466" y="2517722"/>
                  <a:pt x="9128466" y="2517722"/>
                </a:cubicBezTo>
                <a:cubicBezTo>
                  <a:pt x="9118855" y="2563540"/>
                  <a:pt x="9118254" y="2532040"/>
                  <a:pt x="9106390" y="2503763"/>
                </a:cubicBezTo>
                <a:close/>
                <a:moveTo>
                  <a:pt x="9112559" y="2442806"/>
                </a:moveTo>
                <a:lnTo>
                  <a:pt x="9122709" y="2446610"/>
                </a:lnTo>
                <a:cubicBezTo>
                  <a:pt x="9128065" y="2448758"/>
                  <a:pt x="9135674" y="2451860"/>
                  <a:pt x="9147688" y="2456633"/>
                </a:cubicBezTo>
                <a:cubicBezTo>
                  <a:pt x="9154096" y="2460450"/>
                  <a:pt x="9166912" y="2464269"/>
                  <a:pt x="9166912" y="2464269"/>
                </a:cubicBezTo>
                <a:cubicBezTo>
                  <a:pt x="9170115" y="2471905"/>
                  <a:pt x="9186134" y="2483359"/>
                  <a:pt x="9179726" y="2487178"/>
                </a:cubicBezTo>
                <a:cubicBezTo>
                  <a:pt x="9170115" y="2494814"/>
                  <a:pt x="9151693" y="2481451"/>
                  <a:pt x="9134473" y="2465223"/>
                </a:cubicBezTo>
                <a:close/>
                <a:moveTo>
                  <a:pt x="7682078" y="2252555"/>
                </a:moveTo>
                <a:lnTo>
                  <a:pt x="7697643" y="2238000"/>
                </a:lnTo>
                <a:cubicBezTo>
                  <a:pt x="7702738" y="2235269"/>
                  <a:pt x="7707371" y="2235967"/>
                  <a:pt x="7711077" y="2243403"/>
                </a:cubicBezTo>
                <a:cubicBezTo>
                  <a:pt x="7711448" y="2243403"/>
                  <a:pt x="7711633" y="2244913"/>
                  <a:pt x="7711668" y="2247600"/>
                </a:cubicBezTo>
                <a:lnTo>
                  <a:pt x="7711384" y="2257790"/>
                </a:lnTo>
                <a:lnTo>
                  <a:pt x="7708297" y="2258740"/>
                </a:lnTo>
                <a:close/>
                <a:moveTo>
                  <a:pt x="7628063" y="2243402"/>
                </a:moveTo>
                <a:cubicBezTo>
                  <a:pt x="7642517" y="2241543"/>
                  <a:pt x="7656970" y="2245494"/>
                  <a:pt x="7670612" y="2249851"/>
                </a:cubicBezTo>
                <a:lnTo>
                  <a:pt x="7682078" y="2252555"/>
                </a:lnTo>
                <a:lnTo>
                  <a:pt x="7681429" y="2253163"/>
                </a:lnTo>
                <a:cubicBezTo>
                  <a:pt x="7670311" y="2265711"/>
                  <a:pt x="7659193" y="2278725"/>
                  <a:pt x="7651781" y="2265711"/>
                </a:cubicBezTo>
                <a:cubicBezTo>
                  <a:pt x="7632511" y="2258275"/>
                  <a:pt x="7626581" y="2247121"/>
                  <a:pt x="7616204" y="2288020"/>
                </a:cubicBezTo>
                <a:cubicBezTo>
                  <a:pt x="7592486" y="2328920"/>
                  <a:pt x="7625099" y="2250839"/>
                  <a:pt x="7628063" y="2243402"/>
                </a:cubicBezTo>
                <a:close/>
                <a:moveTo>
                  <a:pt x="7293045" y="1343618"/>
                </a:moveTo>
                <a:lnTo>
                  <a:pt x="7294049" y="1344476"/>
                </a:lnTo>
                <a:lnTo>
                  <a:pt x="7293554" y="1346059"/>
                </a:lnTo>
                <a:lnTo>
                  <a:pt x="7290849" y="1350637"/>
                </a:lnTo>
                <a:close/>
                <a:moveTo>
                  <a:pt x="7272291" y="1365927"/>
                </a:moveTo>
                <a:cubicBezTo>
                  <a:pt x="7278962" y="1362209"/>
                  <a:pt x="7283780" y="1360350"/>
                  <a:pt x="7287856" y="1355702"/>
                </a:cubicBezTo>
                <a:lnTo>
                  <a:pt x="7290849" y="1350637"/>
                </a:lnTo>
                <a:lnTo>
                  <a:pt x="7286883" y="1363313"/>
                </a:lnTo>
                <a:cubicBezTo>
                  <a:pt x="7282020" y="1381962"/>
                  <a:pt x="7280074" y="1393813"/>
                  <a:pt x="7272291" y="1365927"/>
                </a:cubicBezTo>
                <a:close/>
                <a:moveTo>
                  <a:pt x="7144766" y="1451195"/>
                </a:moveTo>
                <a:lnTo>
                  <a:pt x="7147215" y="1454232"/>
                </a:lnTo>
                <a:cubicBezTo>
                  <a:pt x="7152589" y="1462598"/>
                  <a:pt x="7156665" y="1470035"/>
                  <a:pt x="7156665" y="1470035"/>
                </a:cubicBezTo>
                <a:cubicBezTo>
                  <a:pt x="7152218" y="1514652"/>
                  <a:pt x="7151940" y="1483977"/>
                  <a:pt x="7146451" y="1456440"/>
                </a:cubicBezTo>
                <a:close/>
                <a:moveTo>
                  <a:pt x="7149305" y="1397081"/>
                </a:moveTo>
                <a:lnTo>
                  <a:pt x="7154001" y="1400785"/>
                </a:lnTo>
                <a:cubicBezTo>
                  <a:pt x="7156480" y="1402876"/>
                  <a:pt x="7160001" y="1405897"/>
                  <a:pt x="7165559" y="1410545"/>
                </a:cubicBezTo>
                <a:cubicBezTo>
                  <a:pt x="7168524" y="1414263"/>
                  <a:pt x="7174454" y="1417981"/>
                  <a:pt x="7174454" y="1417981"/>
                </a:cubicBezTo>
                <a:cubicBezTo>
                  <a:pt x="7175936" y="1425417"/>
                  <a:pt x="7183348" y="1436571"/>
                  <a:pt x="7180384" y="1440289"/>
                </a:cubicBezTo>
                <a:cubicBezTo>
                  <a:pt x="7175937" y="1447725"/>
                  <a:pt x="7167413" y="1434712"/>
                  <a:pt x="7159445" y="1418910"/>
                </a:cubicBezTo>
                <a:close/>
                <a:moveTo>
                  <a:pt x="6771246" y="1702882"/>
                </a:moveTo>
                <a:cubicBezTo>
                  <a:pt x="6763463" y="1709853"/>
                  <a:pt x="6761610" y="1724725"/>
                  <a:pt x="6771245" y="1760047"/>
                </a:cubicBezTo>
                <a:cubicBezTo>
                  <a:pt x="6796446" y="1800947"/>
                  <a:pt x="6803858" y="1864154"/>
                  <a:pt x="6821646" y="1968262"/>
                </a:cubicBezTo>
                <a:cubicBezTo>
                  <a:pt x="6805340" y="1938517"/>
                  <a:pt x="6789034" y="1871591"/>
                  <a:pt x="6783105" y="1826973"/>
                </a:cubicBezTo>
                <a:cubicBezTo>
                  <a:pt x="6763834" y="1812101"/>
                  <a:pt x="6762351" y="1804665"/>
                  <a:pt x="6738633" y="1797228"/>
                </a:cubicBezTo>
                <a:cubicBezTo>
                  <a:pt x="6710468" y="1867873"/>
                  <a:pt x="6741598" y="1975699"/>
                  <a:pt x="6720844" y="2057497"/>
                </a:cubicBezTo>
                <a:cubicBezTo>
                  <a:pt x="6707503" y="2061215"/>
                  <a:pt x="6685267" y="2046342"/>
                  <a:pt x="6682303" y="2079805"/>
                </a:cubicBezTo>
                <a:cubicBezTo>
                  <a:pt x="6680820" y="2105832"/>
                  <a:pt x="6689714" y="2224812"/>
                  <a:pt x="6682302" y="2169040"/>
                </a:cubicBezTo>
                <a:cubicBezTo>
                  <a:pt x="6668961" y="2157886"/>
                  <a:pt x="6664514" y="2090960"/>
                  <a:pt x="6655619" y="2124423"/>
                </a:cubicBezTo>
                <a:cubicBezTo>
                  <a:pt x="6637831" y="2154167"/>
                  <a:pt x="6625972" y="2176477"/>
                  <a:pt x="6623007" y="2228530"/>
                </a:cubicBezTo>
                <a:cubicBezTo>
                  <a:pt x="6585947" y="2239685"/>
                  <a:pt x="6606701" y="2250839"/>
                  <a:pt x="6593359" y="2325202"/>
                </a:cubicBezTo>
                <a:cubicBezTo>
                  <a:pt x="6585947" y="2366100"/>
                  <a:pt x="6581500" y="2373537"/>
                  <a:pt x="6593359" y="2414436"/>
                </a:cubicBezTo>
                <a:cubicBezTo>
                  <a:pt x="6593359" y="2414436"/>
                  <a:pt x="6605218" y="2436745"/>
                  <a:pt x="6611148" y="2444181"/>
                </a:cubicBezTo>
                <a:cubicBezTo>
                  <a:pt x="6617077" y="2451618"/>
                  <a:pt x="6624489" y="2447899"/>
                  <a:pt x="6631901" y="2451617"/>
                </a:cubicBezTo>
                <a:cubicBezTo>
                  <a:pt x="6645243" y="2440463"/>
                  <a:pt x="6649690" y="2373536"/>
                  <a:pt x="6655620" y="2421872"/>
                </a:cubicBezTo>
                <a:cubicBezTo>
                  <a:pt x="6649690" y="2470207"/>
                  <a:pt x="6643760" y="2447899"/>
                  <a:pt x="6640796" y="2511107"/>
                </a:cubicBezTo>
                <a:cubicBezTo>
                  <a:pt x="6625971" y="2563161"/>
                  <a:pt x="6625972" y="2626368"/>
                  <a:pt x="6623007" y="2689577"/>
                </a:cubicBezTo>
                <a:lnTo>
                  <a:pt x="6623007" y="2659248"/>
                </a:lnTo>
                <a:lnTo>
                  <a:pt x="6623192" y="2657508"/>
                </a:lnTo>
                <a:cubicBezTo>
                  <a:pt x="6623378" y="2653325"/>
                  <a:pt x="6623007" y="2648677"/>
                  <a:pt x="6623007" y="2630087"/>
                </a:cubicBezTo>
                <a:lnTo>
                  <a:pt x="6623007" y="2659248"/>
                </a:lnTo>
                <a:lnTo>
                  <a:pt x="6622382" y="2665118"/>
                </a:lnTo>
                <a:cubicBezTo>
                  <a:pt x="6621895" y="2668662"/>
                  <a:pt x="6621155" y="2673775"/>
                  <a:pt x="6620042" y="2682140"/>
                </a:cubicBezTo>
                <a:cubicBezTo>
                  <a:pt x="6609665" y="2697013"/>
                  <a:pt x="6606701" y="2719322"/>
                  <a:pt x="6596324" y="2734194"/>
                </a:cubicBezTo>
                <a:cubicBezTo>
                  <a:pt x="6571124" y="2737912"/>
                  <a:pt x="6556300" y="2723040"/>
                  <a:pt x="6542958" y="2771375"/>
                </a:cubicBezTo>
                <a:cubicBezTo>
                  <a:pt x="6528135" y="2797402"/>
                  <a:pt x="6537029" y="2827147"/>
                  <a:pt x="6522205" y="2853174"/>
                </a:cubicBezTo>
                <a:cubicBezTo>
                  <a:pt x="6482181" y="2860610"/>
                  <a:pt x="6458463" y="2853174"/>
                  <a:pt x="6465874" y="2979590"/>
                </a:cubicBezTo>
                <a:cubicBezTo>
                  <a:pt x="6467357" y="2998180"/>
                  <a:pt x="6476251" y="3001898"/>
                  <a:pt x="6480698" y="3016771"/>
                </a:cubicBezTo>
                <a:cubicBezTo>
                  <a:pt x="6492558" y="3027926"/>
                  <a:pt x="6504416" y="3053952"/>
                  <a:pt x="6513311" y="3076261"/>
                </a:cubicBezTo>
                <a:cubicBezTo>
                  <a:pt x="6526652" y="3087415"/>
                  <a:pt x="6528135" y="3102287"/>
                  <a:pt x="6531099" y="3135750"/>
                </a:cubicBezTo>
                <a:cubicBezTo>
                  <a:pt x="6531099" y="3135750"/>
                  <a:pt x="6486628" y="3135750"/>
                  <a:pt x="6495522" y="3158059"/>
                </a:cubicBezTo>
                <a:cubicBezTo>
                  <a:pt x="6502934" y="3176650"/>
                  <a:pt x="6517758" y="3161777"/>
                  <a:pt x="6528135" y="3165496"/>
                </a:cubicBezTo>
                <a:cubicBezTo>
                  <a:pt x="6544440" y="3150624"/>
                  <a:pt x="6534065" y="3161777"/>
                  <a:pt x="6554818" y="3128314"/>
                </a:cubicBezTo>
                <a:cubicBezTo>
                  <a:pt x="6580018" y="3139469"/>
                  <a:pt x="6566677" y="3139469"/>
                  <a:pt x="6596324" y="3120878"/>
                </a:cubicBezTo>
                <a:cubicBezTo>
                  <a:pt x="6596324" y="3120878"/>
                  <a:pt x="6602254" y="3150623"/>
                  <a:pt x="6602253" y="3165496"/>
                </a:cubicBezTo>
                <a:cubicBezTo>
                  <a:pt x="6602254" y="3180368"/>
                  <a:pt x="6596324" y="3202676"/>
                  <a:pt x="6593359" y="3210113"/>
                </a:cubicBezTo>
                <a:cubicBezTo>
                  <a:pt x="6581500" y="3217549"/>
                  <a:pt x="6569641" y="3221267"/>
                  <a:pt x="6557782" y="3232422"/>
                </a:cubicBezTo>
                <a:cubicBezTo>
                  <a:pt x="6537029" y="3236140"/>
                  <a:pt x="6511828" y="3217549"/>
                  <a:pt x="6504416" y="3269603"/>
                </a:cubicBezTo>
                <a:cubicBezTo>
                  <a:pt x="6504416" y="3269603"/>
                  <a:pt x="6516275" y="3277039"/>
                  <a:pt x="6522205" y="3284476"/>
                </a:cubicBezTo>
                <a:cubicBezTo>
                  <a:pt x="6537029" y="3303066"/>
                  <a:pt x="6551852" y="3340247"/>
                  <a:pt x="6557782" y="3381146"/>
                </a:cubicBezTo>
                <a:cubicBezTo>
                  <a:pt x="6498487" y="3392300"/>
                  <a:pt x="6519240" y="3369992"/>
                  <a:pt x="6534064" y="3425764"/>
                </a:cubicBezTo>
                <a:cubicBezTo>
                  <a:pt x="6545923" y="3444354"/>
                  <a:pt x="6556300" y="3477818"/>
                  <a:pt x="6563711" y="3507563"/>
                </a:cubicBezTo>
                <a:cubicBezTo>
                  <a:pt x="6577053" y="3529871"/>
                  <a:pt x="6585947" y="3544743"/>
                  <a:pt x="6596324" y="3507563"/>
                </a:cubicBezTo>
                <a:cubicBezTo>
                  <a:pt x="6628937" y="3500126"/>
                  <a:pt x="6651172" y="3470381"/>
                  <a:pt x="6682302" y="3462945"/>
                </a:cubicBezTo>
                <a:cubicBezTo>
                  <a:pt x="6707503" y="3485254"/>
                  <a:pt x="6731221" y="3514999"/>
                  <a:pt x="6753457" y="3552180"/>
                </a:cubicBezTo>
                <a:cubicBezTo>
                  <a:pt x="6759386" y="3563334"/>
                  <a:pt x="6768281" y="3567052"/>
                  <a:pt x="6771245" y="3581925"/>
                </a:cubicBezTo>
                <a:cubicBezTo>
                  <a:pt x="6775693" y="3607951"/>
                  <a:pt x="6772728" y="3637696"/>
                  <a:pt x="6774210" y="3663724"/>
                </a:cubicBezTo>
                <a:cubicBezTo>
                  <a:pt x="6774210" y="3663724"/>
                  <a:pt x="6777175" y="3693468"/>
                  <a:pt x="6780140" y="3708340"/>
                </a:cubicBezTo>
                <a:cubicBezTo>
                  <a:pt x="6787552" y="3745522"/>
                  <a:pt x="6794964" y="3782703"/>
                  <a:pt x="6803858" y="3819884"/>
                </a:cubicBezTo>
                <a:cubicBezTo>
                  <a:pt x="6824611" y="3916555"/>
                  <a:pt x="6818682" y="4050407"/>
                  <a:pt x="6812752" y="4154514"/>
                </a:cubicBezTo>
                <a:cubicBezTo>
                  <a:pt x="6812752" y="4154514"/>
                  <a:pt x="6818682" y="4202850"/>
                  <a:pt x="6824611" y="4221441"/>
                </a:cubicBezTo>
                <a:cubicBezTo>
                  <a:pt x="6839435" y="4277212"/>
                  <a:pt x="6839435" y="4280931"/>
                  <a:pt x="6842400" y="4347857"/>
                </a:cubicBezTo>
                <a:cubicBezTo>
                  <a:pt x="6848329" y="4392474"/>
                  <a:pt x="6860189" y="4414783"/>
                  <a:pt x="6875013" y="4407347"/>
                </a:cubicBezTo>
                <a:cubicBezTo>
                  <a:pt x="6891319" y="4437092"/>
                  <a:pt x="6906142" y="4433374"/>
                  <a:pt x="6916519" y="4474273"/>
                </a:cubicBezTo>
                <a:cubicBezTo>
                  <a:pt x="6926896" y="4492863"/>
                  <a:pt x="6932825" y="4522608"/>
                  <a:pt x="6937272" y="4556071"/>
                </a:cubicBezTo>
                <a:cubicBezTo>
                  <a:pt x="6918001" y="4522608"/>
                  <a:pt x="6909107" y="4530044"/>
                  <a:pt x="6880942" y="4526326"/>
                </a:cubicBezTo>
                <a:cubicBezTo>
                  <a:pt x="6852777" y="4548636"/>
                  <a:pt x="6863153" y="4649024"/>
                  <a:pt x="6872047" y="4712232"/>
                </a:cubicBezTo>
                <a:cubicBezTo>
                  <a:pt x="6897248" y="4775440"/>
                  <a:pt x="6892801" y="4794031"/>
                  <a:pt x="6889836" y="4898138"/>
                </a:cubicBezTo>
                <a:cubicBezTo>
                  <a:pt x="6875012" y="5005964"/>
                  <a:pt x="6882424" y="5117507"/>
                  <a:pt x="6880942" y="5232768"/>
                </a:cubicBezTo>
                <a:cubicBezTo>
                  <a:pt x="6880942" y="5232768"/>
                  <a:pt x="6889836" y="5277386"/>
                  <a:pt x="6892801" y="5299695"/>
                </a:cubicBezTo>
                <a:cubicBezTo>
                  <a:pt x="6900213" y="5351748"/>
                  <a:pt x="6920966" y="5370339"/>
                  <a:pt x="6922449" y="5426110"/>
                </a:cubicBezTo>
                <a:cubicBezTo>
                  <a:pt x="6928378" y="5474446"/>
                  <a:pt x="6925413" y="5526500"/>
                  <a:pt x="6931343" y="5574835"/>
                </a:cubicBezTo>
                <a:cubicBezTo>
                  <a:pt x="6946167" y="5600862"/>
                  <a:pt x="6947649" y="5641761"/>
                  <a:pt x="6955061" y="5678942"/>
                </a:cubicBezTo>
                <a:cubicBezTo>
                  <a:pt x="6962473" y="5719842"/>
                  <a:pt x="6969885" y="5775613"/>
                  <a:pt x="6978779" y="5812795"/>
                </a:cubicBezTo>
                <a:cubicBezTo>
                  <a:pt x="6981744" y="5827667"/>
                  <a:pt x="6989156" y="5835104"/>
                  <a:pt x="6993603" y="5849976"/>
                </a:cubicBezTo>
                <a:cubicBezTo>
                  <a:pt x="6993603" y="5849976"/>
                  <a:pt x="7005462" y="5872284"/>
                  <a:pt x="7011392" y="5879721"/>
                </a:cubicBezTo>
                <a:cubicBezTo>
                  <a:pt x="7027698" y="5902029"/>
                  <a:pt x="7042522" y="5920620"/>
                  <a:pt x="7055863" y="5954083"/>
                </a:cubicBezTo>
                <a:cubicBezTo>
                  <a:pt x="7075134" y="5968956"/>
                  <a:pt x="7095888" y="5972674"/>
                  <a:pt x="7115158" y="5976392"/>
                </a:cubicBezTo>
                <a:cubicBezTo>
                  <a:pt x="7132947" y="5913184"/>
                  <a:pt x="7137394" y="5820231"/>
                  <a:pt x="7138876" y="5745869"/>
                </a:cubicBezTo>
                <a:cubicBezTo>
                  <a:pt x="7138876" y="5745869"/>
                  <a:pt x="7141841" y="5716124"/>
                  <a:pt x="7144806" y="5701251"/>
                </a:cubicBezTo>
                <a:cubicBezTo>
                  <a:pt x="7147771" y="5686379"/>
                  <a:pt x="7140359" y="5671506"/>
                  <a:pt x="7144806" y="5656634"/>
                </a:cubicBezTo>
                <a:cubicBezTo>
                  <a:pt x="7178901" y="5600862"/>
                  <a:pt x="7186313" y="5452137"/>
                  <a:pt x="7189278" y="5366621"/>
                </a:cubicBezTo>
                <a:cubicBezTo>
                  <a:pt x="7189278" y="5366621"/>
                  <a:pt x="7211513" y="5351748"/>
                  <a:pt x="7221890" y="5344312"/>
                </a:cubicBezTo>
                <a:cubicBezTo>
                  <a:pt x="7242643" y="5325722"/>
                  <a:pt x="7255985" y="5292258"/>
                  <a:pt x="7275256" y="5269950"/>
                </a:cubicBezTo>
                <a:cubicBezTo>
                  <a:pt x="7288597" y="5251359"/>
                  <a:pt x="7303421" y="5210460"/>
                  <a:pt x="7310833" y="5180715"/>
                </a:cubicBezTo>
                <a:cubicBezTo>
                  <a:pt x="7321209" y="5139816"/>
                  <a:pt x="7349375" y="5002245"/>
                  <a:pt x="7352340" y="4957628"/>
                </a:cubicBezTo>
                <a:cubicBezTo>
                  <a:pt x="7365681" y="4924165"/>
                  <a:pt x="7356787" y="4939038"/>
                  <a:pt x="7379023" y="4920447"/>
                </a:cubicBezTo>
                <a:cubicBezTo>
                  <a:pt x="7387917" y="4920447"/>
                  <a:pt x="7481307" y="4913010"/>
                  <a:pt x="7488719" y="4853521"/>
                </a:cubicBezTo>
                <a:cubicBezTo>
                  <a:pt x="7493166" y="4823776"/>
                  <a:pt x="7513920" y="4816339"/>
                  <a:pt x="7518367" y="4786594"/>
                </a:cubicBezTo>
                <a:cubicBezTo>
                  <a:pt x="7534673" y="4760568"/>
                  <a:pt x="7540603" y="4723386"/>
                  <a:pt x="7553944" y="4689924"/>
                </a:cubicBezTo>
                <a:cubicBezTo>
                  <a:pt x="7562838" y="4667615"/>
                  <a:pt x="7559874" y="4649024"/>
                  <a:pt x="7571733" y="4630434"/>
                </a:cubicBezTo>
                <a:cubicBezTo>
                  <a:pt x="7499096" y="4593252"/>
                  <a:pt x="7507990" y="4686206"/>
                  <a:pt x="7503543" y="4444528"/>
                </a:cubicBezTo>
                <a:cubicBezTo>
                  <a:pt x="7518367" y="4455682"/>
                  <a:pt x="7525779" y="4474273"/>
                  <a:pt x="7530226" y="4511454"/>
                </a:cubicBezTo>
                <a:cubicBezTo>
                  <a:pt x="7539120" y="4526326"/>
                  <a:pt x="7548014" y="4548635"/>
                  <a:pt x="7556909" y="4563508"/>
                </a:cubicBezTo>
                <a:cubicBezTo>
                  <a:pt x="7591003" y="4574662"/>
                  <a:pt x="7588039" y="4574662"/>
                  <a:pt x="7592486" y="4496581"/>
                </a:cubicBezTo>
                <a:cubicBezTo>
                  <a:pt x="7592486" y="4496581"/>
                  <a:pt x="7589521" y="4466837"/>
                  <a:pt x="7586556" y="4451964"/>
                </a:cubicBezTo>
                <a:cubicBezTo>
                  <a:pt x="7574698" y="4407347"/>
                  <a:pt x="7574697" y="4359011"/>
                  <a:pt x="7568768" y="4310676"/>
                </a:cubicBezTo>
                <a:cubicBezTo>
                  <a:pt x="7589521" y="4329266"/>
                  <a:pt x="7582109" y="4351575"/>
                  <a:pt x="7586557" y="4288367"/>
                </a:cubicBezTo>
                <a:cubicBezTo>
                  <a:pt x="7586557" y="4288367"/>
                  <a:pt x="7588039" y="4254904"/>
                  <a:pt x="7589521" y="4221441"/>
                </a:cubicBezTo>
                <a:cubicBezTo>
                  <a:pt x="7583592" y="4180541"/>
                  <a:pt x="7599898" y="4184260"/>
                  <a:pt x="7586556" y="4132206"/>
                </a:cubicBezTo>
                <a:cubicBezTo>
                  <a:pt x="7574698" y="4113615"/>
                  <a:pt x="7546532" y="4039253"/>
                  <a:pt x="7542085" y="4005790"/>
                </a:cubicBezTo>
                <a:cubicBezTo>
                  <a:pt x="7568768" y="4002072"/>
                  <a:pt x="7617686" y="4054126"/>
                  <a:pt x="7628063" y="3976045"/>
                </a:cubicBezTo>
                <a:cubicBezTo>
                  <a:pt x="7602863" y="3964890"/>
                  <a:pt x="7591004" y="3946300"/>
                  <a:pt x="7598416" y="3886810"/>
                </a:cubicBezTo>
                <a:cubicBezTo>
                  <a:pt x="7628063" y="3875656"/>
                  <a:pt x="7623616" y="3897964"/>
                  <a:pt x="7636958" y="3834756"/>
                </a:cubicBezTo>
                <a:cubicBezTo>
                  <a:pt x="7654746" y="3752958"/>
                  <a:pt x="7638440" y="3864501"/>
                  <a:pt x="7648817" y="3790139"/>
                </a:cubicBezTo>
                <a:cubicBezTo>
                  <a:pt x="7604345" y="3771549"/>
                  <a:pt x="7599898" y="3708341"/>
                  <a:pt x="7586557" y="3604233"/>
                </a:cubicBezTo>
                <a:cubicBezTo>
                  <a:pt x="7592486" y="3563334"/>
                  <a:pt x="7591004" y="3626542"/>
                  <a:pt x="7604345" y="3678596"/>
                </a:cubicBezTo>
                <a:cubicBezTo>
                  <a:pt x="7647334" y="3749240"/>
                  <a:pt x="7636957" y="3667442"/>
                  <a:pt x="7639922" y="3559616"/>
                </a:cubicBezTo>
                <a:cubicBezTo>
                  <a:pt x="7639922" y="3559616"/>
                  <a:pt x="7635475" y="3529871"/>
                  <a:pt x="7633993" y="3514999"/>
                </a:cubicBezTo>
                <a:cubicBezTo>
                  <a:pt x="7628063" y="3470382"/>
                  <a:pt x="7633993" y="3500126"/>
                  <a:pt x="7625099" y="3462945"/>
                </a:cubicBezTo>
                <a:cubicBezTo>
                  <a:pt x="7607310" y="3448072"/>
                  <a:pt x="7591004" y="3414609"/>
                  <a:pt x="7580627" y="3373710"/>
                </a:cubicBezTo>
                <a:cubicBezTo>
                  <a:pt x="7567285" y="3351401"/>
                  <a:pt x="7582109" y="3343966"/>
                  <a:pt x="7586556" y="3306784"/>
                </a:cubicBezTo>
                <a:cubicBezTo>
                  <a:pt x="7645852" y="3299348"/>
                  <a:pt x="7654746" y="3343965"/>
                  <a:pt x="7660676" y="3224986"/>
                </a:cubicBezTo>
                <a:cubicBezTo>
                  <a:pt x="7610275" y="3198959"/>
                  <a:pt x="7574697" y="3135751"/>
                  <a:pt x="7595451" y="2979590"/>
                </a:cubicBezTo>
                <a:cubicBezTo>
                  <a:pt x="7616204" y="2960999"/>
                  <a:pt x="7593969" y="2849456"/>
                  <a:pt x="7604345" y="2808556"/>
                </a:cubicBezTo>
                <a:cubicBezTo>
                  <a:pt x="7616204" y="2789966"/>
                  <a:pt x="7631028" y="2842020"/>
                  <a:pt x="7642887" y="2823429"/>
                </a:cubicBezTo>
                <a:cubicBezTo>
                  <a:pt x="7633993" y="2786248"/>
                  <a:pt x="7642887" y="2689577"/>
                  <a:pt x="7639922" y="2644959"/>
                </a:cubicBezTo>
                <a:cubicBezTo>
                  <a:pt x="7642887" y="2581751"/>
                  <a:pt x="7629545" y="2563161"/>
                  <a:pt x="7636958" y="2503671"/>
                </a:cubicBezTo>
                <a:cubicBezTo>
                  <a:pt x="7638440" y="2496235"/>
                  <a:pt x="7642887" y="2514825"/>
                  <a:pt x="7645852" y="2518543"/>
                </a:cubicBezTo>
                <a:cubicBezTo>
                  <a:pt x="7654746" y="2522262"/>
                  <a:pt x="7663641" y="2522261"/>
                  <a:pt x="7672535" y="2525980"/>
                </a:cubicBezTo>
                <a:cubicBezTo>
                  <a:pt x="7679947" y="2514825"/>
                  <a:pt x="7693288" y="2459053"/>
                  <a:pt x="7687359" y="2444182"/>
                </a:cubicBezTo>
                <a:cubicBezTo>
                  <a:pt x="7681429" y="2429308"/>
                  <a:pt x="7639922" y="2447899"/>
                  <a:pt x="7633993" y="2429309"/>
                </a:cubicBezTo>
                <a:cubicBezTo>
                  <a:pt x="7620651" y="2407000"/>
                  <a:pt x="7625098" y="2395846"/>
                  <a:pt x="7636957" y="2377255"/>
                </a:cubicBezTo>
                <a:cubicBezTo>
                  <a:pt x="7659194" y="2373537"/>
                  <a:pt x="7694770" y="2414436"/>
                  <a:pt x="7702183" y="2362382"/>
                </a:cubicBezTo>
                <a:cubicBezTo>
                  <a:pt x="7704406" y="2345651"/>
                  <a:pt x="7709965" y="2287090"/>
                  <a:pt x="7711355" y="2258856"/>
                </a:cubicBezTo>
                <a:lnTo>
                  <a:pt x="7711384" y="2257790"/>
                </a:lnTo>
                <a:lnTo>
                  <a:pt x="7723796" y="2253969"/>
                </a:lnTo>
                <a:cubicBezTo>
                  <a:pt x="7737876" y="2244100"/>
                  <a:pt x="7747395" y="2216911"/>
                  <a:pt x="7749619" y="2154168"/>
                </a:cubicBezTo>
                <a:cubicBezTo>
                  <a:pt x="7780749" y="2143014"/>
                  <a:pt x="7761478" y="2102114"/>
                  <a:pt x="7773337" y="2035188"/>
                </a:cubicBezTo>
                <a:cubicBezTo>
                  <a:pt x="7779266" y="1998007"/>
                  <a:pt x="7794090" y="1979416"/>
                  <a:pt x="7805950" y="1960826"/>
                </a:cubicBezTo>
                <a:cubicBezTo>
                  <a:pt x="7795573" y="1923645"/>
                  <a:pt x="7800020" y="1882746"/>
                  <a:pt x="7794090" y="1841846"/>
                </a:cubicBezTo>
                <a:cubicBezTo>
                  <a:pt x="7794090" y="1841846"/>
                  <a:pt x="7782231" y="1834410"/>
                  <a:pt x="7776302" y="1826973"/>
                </a:cubicBezTo>
                <a:cubicBezTo>
                  <a:pt x="7749619" y="1782356"/>
                  <a:pt x="7765925" y="1797229"/>
                  <a:pt x="7728865" y="1789792"/>
                </a:cubicBezTo>
                <a:cubicBezTo>
                  <a:pt x="7711077" y="1804665"/>
                  <a:pt x="7705147" y="1841846"/>
                  <a:pt x="7687359" y="1856719"/>
                </a:cubicBezTo>
                <a:cubicBezTo>
                  <a:pt x="7683653" y="1853000"/>
                  <a:pt x="7675870" y="1845565"/>
                  <a:pt x="7668459" y="1838128"/>
                </a:cubicBezTo>
                <a:lnTo>
                  <a:pt x="7664016" y="1833510"/>
                </a:lnTo>
                <a:lnTo>
                  <a:pt x="7660676" y="1812101"/>
                </a:lnTo>
                <a:cubicBezTo>
                  <a:pt x="7656229" y="1793511"/>
                  <a:pt x="7649929" y="1777709"/>
                  <a:pt x="7645296" y="1761442"/>
                </a:cubicBezTo>
                <a:lnTo>
                  <a:pt x="7644997" y="1760012"/>
                </a:lnTo>
                <a:lnTo>
                  <a:pt x="7644069" y="1735357"/>
                </a:lnTo>
                <a:cubicBezTo>
                  <a:pt x="7643350" y="1724958"/>
                  <a:pt x="7642146" y="1715431"/>
                  <a:pt x="7639922" y="1707994"/>
                </a:cubicBezTo>
                <a:cubicBezTo>
                  <a:pt x="7638810" y="1718219"/>
                  <a:pt x="7638996" y="1727514"/>
                  <a:pt x="7640038" y="1736287"/>
                </a:cubicBezTo>
                <a:lnTo>
                  <a:pt x="7644997" y="1760012"/>
                </a:lnTo>
                <a:lnTo>
                  <a:pt x="7645297" y="1767949"/>
                </a:lnTo>
                <a:cubicBezTo>
                  <a:pt x="7645852" y="1789792"/>
                  <a:pt x="7646593" y="1810242"/>
                  <a:pt x="7651781" y="1819537"/>
                </a:cubicBezTo>
                <a:cubicBezTo>
                  <a:pt x="7652893" y="1821396"/>
                  <a:pt x="7655209" y="1824185"/>
                  <a:pt x="7658174" y="1827438"/>
                </a:cubicBezTo>
                <a:lnTo>
                  <a:pt x="7664016" y="1833510"/>
                </a:lnTo>
                <a:lnTo>
                  <a:pt x="7665679" y="1844169"/>
                </a:lnTo>
                <a:cubicBezTo>
                  <a:pt x="7665494" y="1855789"/>
                  <a:pt x="7665123" y="1867872"/>
                  <a:pt x="7669570" y="1879027"/>
                </a:cubicBezTo>
                <a:cubicBezTo>
                  <a:pt x="7672535" y="1882745"/>
                  <a:pt x="7676982" y="1882745"/>
                  <a:pt x="7678464" y="1886463"/>
                </a:cubicBezTo>
                <a:cubicBezTo>
                  <a:pt x="7679947" y="1890181"/>
                  <a:pt x="7678465" y="1905054"/>
                  <a:pt x="7681429" y="1908772"/>
                </a:cubicBezTo>
                <a:cubicBezTo>
                  <a:pt x="7684394" y="1916208"/>
                  <a:pt x="7690323" y="1938517"/>
                  <a:pt x="7687358" y="1945953"/>
                </a:cubicBezTo>
                <a:cubicBezTo>
                  <a:pt x="7682911" y="1957108"/>
                  <a:pt x="7681429" y="1919926"/>
                  <a:pt x="7675500" y="1923645"/>
                </a:cubicBezTo>
                <a:cubicBezTo>
                  <a:pt x="7656229" y="1893900"/>
                  <a:pt x="7666605" y="1986852"/>
                  <a:pt x="7651781" y="1931081"/>
                </a:cubicBezTo>
                <a:cubicBezTo>
                  <a:pt x="7651781" y="1931081"/>
                  <a:pt x="7633993" y="1867873"/>
                  <a:pt x="7628063" y="1871591"/>
                </a:cubicBezTo>
                <a:cubicBezTo>
                  <a:pt x="7622134" y="1875309"/>
                  <a:pt x="7625098" y="1901336"/>
                  <a:pt x="7622134" y="1916209"/>
                </a:cubicBezTo>
                <a:cubicBezTo>
                  <a:pt x="7616204" y="1953390"/>
                  <a:pt x="7610275" y="1986852"/>
                  <a:pt x="7604345" y="2027752"/>
                </a:cubicBezTo>
                <a:cubicBezTo>
                  <a:pt x="7604345" y="2027752"/>
                  <a:pt x="7591004" y="2042625"/>
                  <a:pt x="7586557" y="2057497"/>
                </a:cubicBezTo>
                <a:cubicBezTo>
                  <a:pt x="7574697" y="2102114"/>
                  <a:pt x="7570250" y="2139296"/>
                  <a:pt x="7562838" y="2191349"/>
                </a:cubicBezTo>
                <a:cubicBezTo>
                  <a:pt x="7567286" y="2224812"/>
                  <a:pt x="7561356" y="2232248"/>
                  <a:pt x="7550979" y="2258275"/>
                </a:cubicBezTo>
                <a:cubicBezTo>
                  <a:pt x="7531709" y="2269429"/>
                  <a:pt x="7534673" y="2243403"/>
                  <a:pt x="7539121" y="2206221"/>
                </a:cubicBezTo>
                <a:cubicBezTo>
                  <a:pt x="7558391" y="2172758"/>
                  <a:pt x="7548015" y="2120705"/>
                  <a:pt x="7559873" y="2072370"/>
                </a:cubicBezTo>
                <a:cubicBezTo>
                  <a:pt x="7559873" y="2072370"/>
                  <a:pt x="7591004" y="2035188"/>
                  <a:pt x="7592486" y="1998007"/>
                </a:cubicBezTo>
                <a:cubicBezTo>
                  <a:pt x="7595451" y="1945954"/>
                  <a:pt x="7620651" y="1756329"/>
                  <a:pt x="7580627" y="1722866"/>
                </a:cubicBezTo>
                <a:cubicBezTo>
                  <a:pt x="7580627" y="1722866"/>
                  <a:pt x="7567285" y="1737739"/>
                  <a:pt x="7562838" y="1752611"/>
                </a:cubicBezTo>
                <a:cubicBezTo>
                  <a:pt x="7552462" y="1778638"/>
                  <a:pt x="7553944" y="1834410"/>
                  <a:pt x="7539120" y="1871591"/>
                </a:cubicBezTo>
                <a:cubicBezTo>
                  <a:pt x="7528744" y="1875309"/>
                  <a:pt x="7518367" y="1864155"/>
                  <a:pt x="7509473" y="1879027"/>
                </a:cubicBezTo>
                <a:cubicBezTo>
                  <a:pt x="7505025" y="1886463"/>
                  <a:pt x="7482790" y="1923645"/>
                  <a:pt x="7482790" y="1923645"/>
                </a:cubicBezTo>
                <a:cubicBezTo>
                  <a:pt x="7475378" y="1923644"/>
                  <a:pt x="7481307" y="1886463"/>
                  <a:pt x="7485754" y="1871591"/>
                </a:cubicBezTo>
                <a:cubicBezTo>
                  <a:pt x="7507990" y="1834410"/>
                  <a:pt x="7528743" y="1849282"/>
                  <a:pt x="7515402" y="1745175"/>
                </a:cubicBezTo>
                <a:cubicBezTo>
                  <a:pt x="7487237" y="1741457"/>
                  <a:pt x="7476860" y="1707993"/>
                  <a:pt x="7450177" y="1730302"/>
                </a:cubicBezTo>
                <a:cubicBezTo>
                  <a:pt x="7414600" y="1737739"/>
                  <a:pt x="7386435" y="1771201"/>
                  <a:pt x="7361234" y="1834410"/>
                </a:cubicBezTo>
                <a:cubicBezTo>
                  <a:pt x="7349375" y="1845564"/>
                  <a:pt x="7344928" y="1871592"/>
                  <a:pt x="7340481" y="1834410"/>
                </a:cubicBezTo>
                <a:cubicBezTo>
                  <a:pt x="7364199" y="1819538"/>
                  <a:pt x="7352340" y="1767483"/>
                  <a:pt x="7364199" y="1722866"/>
                </a:cubicBezTo>
                <a:cubicBezTo>
                  <a:pt x="7364199" y="1722866"/>
                  <a:pt x="7381988" y="1711712"/>
                  <a:pt x="7390882" y="1700557"/>
                </a:cubicBezTo>
                <a:cubicBezTo>
                  <a:pt x="7393847" y="1696839"/>
                  <a:pt x="7396811" y="1689403"/>
                  <a:pt x="7399776" y="1685685"/>
                </a:cubicBezTo>
                <a:cubicBezTo>
                  <a:pt x="7405706" y="1678249"/>
                  <a:pt x="7411635" y="1674531"/>
                  <a:pt x="7417565" y="1670812"/>
                </a:cubicBezTo>
                <a:cubicBezTo>
                  <a:pt x="7473896" y="1663376"/>
                  <a:pt x="7467966" y="1663376"/>
                  <a:pt x="7506508" y="1678249"/>
                </a:cubicBezTo>
                <a:cubicBezTo>
                  <a:pt x="7506508" y="1678249"/>
                  <a:pt x="7516885" y="1655940"/>
                  <a:pt x="7524296" y="1648504"/>
                </a:cubicBezTo>
                <a:cubicBezTo>
                  <a:pt x="7530226" y="1644786"/>
                  <a:pt x="7536155" y="1637350"/>
                  <a:pt x="7542085" y="1633632"/>
                </a:cubicBezTo>
                <a:cubicBezTo>
                  <a:pt x="7589521" y="1618759"/>
                  <a:pt x="7550980" y="1629913"/>
                  <a:pt x="7571733" y="1566705"/>
                </a:cubicBezTo>
                <a:cubicBezTo>
                  <a:pt x="7574697" y="1559269"/>
                  <a:pt x="7582109" y="1570424"/>
                  <a:pt x="7583592" y="1559269"/>
                </a:cubicBezTo>
                <a:cubicBezTo>
                  <a:pt x="7588039" y="1522088"/>
                  <a:pt x="7585074" y="1484907"/>
                  <a:pt x="7586556" y="1447726"/>
                </a:cubicBezTo>
                <a:cubicBezTo>
                  <a:pt x="7576180" y="1432853"/>
                  <a:pt x="7568768" y="1414263"/>
                  <a:pt x="7556909" y="1403109"/>
                </a:cubicBezTo>
                <a:cubicBezTo>
                  <a:pt x="7534673" y="1440290"/>
                  <a:pt x="7561356" y="1406826"/>
                  <a:pt x="7545050" y="1380799"/>
                </a:cubicBezTo>
                <a:cubicBezTo>
                  <a:pt x="7539121" y="1369645"/>
                  <a:pt x="7528744" y="1377081"/>
                  <a:pt x="7521332" y="1373364"/>
                </a:cubicBezTo>
                <a:cubicBezTo>
                  <a:pt x="7515403" y="1377081"/>
                  <a:pt x="7506508" y="1410545"/>
                  <a:pt x="7503543" y="1395672"/>
                </a:cubicBezTo>
                <a:cubicBezTo>
                  <a:pt x="7500578" y="1384518"/>
                  <a:pt x="7506508" y="1369645"/>
                  <a:pt x="7506508" y="1358491"/>
                </a:cubicBezTo>
                <a:cubicBezTo>
                  <a:pt x="7507990" y="1332464"/>
                  <a:pt x="7507990" y="1302719"/>
                  <a:pt x="7509472" y="1276692"/>
                </a:cubicBezTo>
                <a:cubicBezTo>
                  <a:pt x="7481307" y="1269256"/>
                  <a:pt x="7479825" y="1272974"/>
                  <a:pt x="7456107" y="1284128"/>
                </a:cubicBezTo>
                <a:cubicBezTo>
                  <a:pt x="7456107" y="1284128"/>
                  <a:pt x="7387917" y="1272975"/>
                  <a:pt x="7379023" y="1336182"/>
                </a:cubicBezTo>
                <a:cubicBezTo>
                  <a:pt x="7319728" y="1351054"/>
                  <a:pt x="7341963" y="1336182"/>
                  <a:pt x="7325657" y="1462598"/>
                </a:cubicBezTo>
                <a:cubicBezTo>
                  <a:pt x="7301197" y="1420769"/>
                  <a:pt x="7323434" y="1385214"/>
                  <a:pt x="7314817" y="1362209"/>
                </a:cubicBezTo>
                <a:lnTo>
                  <a:pt x="7294049" y="1344476"/>
                </a:lnTo>
                <a:lnTo>
                  <a:pt x="7298974" y="1328746"/>
                </a:lnTo>
                <a:cubicBezTo>
                  <a:pt x="7325657" y="1306438"/>
                  <a:pt x="7347893" y="1261820"/>
                  <a:pt x="7376058" y="1246947"/>
                </a:cubicBezTo>
                <a:cubicBezTo>
                  <a:pt x="7393847" y="1243229"/>
                  <a:pt x="7429424" y="1250666"/>
                  <a:pt x="7453142" y="1232074"/>
                </a:cubicBezTo>
                <a:cubicBezTo>
                  <a:pt x="7462036" y="1224639"/>
                  <a:pt x="7497614" y="1202330"/>
                  <a:pt x="7491684" y="1165148"/>
                </a:cubicBezTo>
                <a:cubicBezTo>
                  <a:pt x="7488719" y="1150276"/>
                  <a:pt x="7481307" y="1142840"/>
                  <a:pt x="7476860" y="1127967"/>
                </a:cubicBezTo>
                <a:cubicBezTo>
                  <a:pt x="7451660" y="1087068"/>
                  <a:pt x="7419047" y="1075914"/>
                  <a:pt x="7393847" y="1031296"/>
                </a:cubicBezTo>
                <a:cubicBezTo>
                  <a:pt x="7380505" y="1023861"/>
                  <a:pt x="7371611" y="1012706"/>
                  <a:pt x="7358269" y="1023860"/>
                </a:cubicBezTo>
                <a:cubicBezTo>
                  <a:pt x="7328622" y="1031297"/>
                  <a:pt x="7288597" y="1027578"/>
                  <a:pt x="7263397" y="1068478"/>
                </a:cubicBezTo>
                <a:cubicBezTo>
                  <a:pt x="7242644" y="1079632"/>
                  <a:pt x="7221890" y="1105659"/>
                  <a:pt x="7204101" y="1135404"/>
                </a:cubicBezTo>
                <a:cubicBezTo>
                  <a:pt x="7189278" y="1142840"/>
                  <a:pt x="7181865" y="1153995"/>
                  <a:pt x="7168525" y="1165149"/>
                </a:cubicBezTo>
                <a:cubicBezTo>
                  <a:pt x="7159630" y="1168867"/>
                  <a:pt x="7150735" y="1165149"/>
                  <a:pt x="7141842" y="1172585"/>
                </a:cubicBezTo>
                <a:cubicBezTo>
                  <a:pt x="7138876" y="1176303"/>
                  <a:pt x="7141841" y="1191176"/>
                  <a:pt x="7138877" y="1194894"/>
                </a:cubicBezTo>
                <a:cubicBezTo>
                  <a:pt x="7127018" y="1206048"/>
                  <a:pt x="7112194" y="1198612"/>
                  <a:pt x="7100335" y="1209766"/>
                </a:cubicBezTo>
                <a:cubicBezTo>
                  <a:pt x="7100335" y="1209766"/>
                  <a:pt x="7107747" y="1239511"/>
                  <a:pt x="7106264" y="1254383"/>
                </a:cubicBezTo>
                <a:cubicBezTo>
                  <a:pt x="7106264" y="1261820"/>
                  <a:pt x="7100334" y="1250666"/>
                  <a:pt x="7097370" y="1246947"/>
                </a:cubicBezTo>
                <a:cubicBezTo>
                  <a:pt x="7075134" y="1243230"/>
                  <a:pt x="7051416" y="1224639"/>
                  <a:pt x="7067722" y="1284128"/>
                </a:cubicBezTo>
                <a:cubicBezTo>
                  <a:pt x="7078099" y="1302719"/>
                  <a:pt x="7089958" y="1332464"/>
                  <a:pt x="7097370" y="1358491"/>
                </a:cubicBezTo>
                <a:cubicBezTo>
                  <a:pt x="7119606" y="1362209"/>
                  <a:pt x="7127018" y="1354773"/>
                  <a:pt x="7141842" y="1380800"/>
                </a:cubicBezTo>
                <a:cubicBezTo>
                  <a:pt x="7142953" y="1382659"/>
                  <a:pt x="7145362" y="1388236"/>
                  <a:pt x="7148489" y="1395324"/>
                </a:cubicBezTo>
                <a:lnTo>
                  <a:pt x="7149305" y="1397081"/>
                </a:lnTo>
                <a:lnTo>
                  <a:pt x="7148698" y="1396601"/>
                </a:lnTo>
                <a:cubicBezTo>
                  <a:pt x="7145918" y="1394743"/>
                  <a:pt x="7143324" y="1393813"/>
                  <a:pt x="7132947" y="1388235"/>
                </a:cubicBezTo>
                <a:cubicBezTo>
                  <a:pt x="7127017" y="1384518"/>
                  <a:pt x="7137394" y="1417981"/>
                  <a:pt x="7138877" y="1432853"/>
                </a:cubicBezTo>
                <a:lnTo>
                  <a:pt x="7144766" y="1451195"/>
                </a:lnTo>
                <a:lnTo>
                  <a:pt x="7129982" y="1432854"/>
                </a:lnTo>
                <a:cubicBezTo>
                  <a:pt x="7103299" y="1425417"/>
                  <a:pt x="7086993" y="1410545"/>
                  <a:pt x="7061793" y="1432853"/>
                </a:cubicBezTo>
                <a:cubicBezTo>
                  <a:pt x="7061793" y="1432853"/>
                  <a:pt x="7066240" y="1462598"/>
                  <a:pt x="7067722" y="1477471"/>
                </a:cubicBezTo>
                <a:cubicBezTo>
                  <a:pt x="7070687" y="1503497"/>
                  <a:pt x="7079581" y="1518370"/>
                  <a:pt x="7082546" y="1544397"/>
                </a:cubicBezTo>
                <a:cubicBezTo>
                  <a:pt x="7097370" y="1566706"/>
                  <a:pt x="7098852" y="1596450"/>
                  <a:pt x="7106264" y="1633631"/>
                </a:cubicBezTo>
                <a:cubicBezTo>
                  <a:pt x="7084029" y="1615041"/>
                  <a:pt x="7078099" y="1510933"/>
                  <a:pt x="7064758" y="1470034"/>
                </a:cubicBezTo>
                <a:cubicBezTo>
                  <a:pt x="7057346" y="1447725"/>
                  <a:pt x="7044004" y="1451444"/>
                  <a:pt x="7035110" y="1447725"/>
                </a:cubicBezTo>
                <a:cubicBezTo>
                  <a:pt x="7012874" y="1484907"/>
                  <a:pt x="7015839" y="1510934"/>
                  <a:pt x="7029180" y="1559269"/>
                </a:cubicBezTo>
                <a:cubicBezTo>
                  <a:pt x="7045486" y="1585296"/>
                  <a:pt x="7057345" y="1629914"/>
                  <a:pt x="7067722" y="1670813"/>
                </a:cubicBezTo>
                <a:cubicBezTo>
                  <a:pt x="7088475" y="1704276"/>
                  <a:pt x="7086993" y="1756329"/>
                  <a:pt x="7091440" y="1812101"/>
                </a:cubicBezTo>
                <a:cubicBezTo>
                  <a:pt x="7070687" y="1793510"/>
                  <a:pt x="7061793" y="1745175"/>
                  <a:pt x="7049934" y="1700557"/>
                </a:cubicBezTo>
                <a:cubicBezTo>
                  <a:pt x="7036592" y="1689404"/>
                  <a:pt x="7024733" y="1663376"/>
                  <a:pt x="7017322" y="1633631"/>
                </a:cubicBezTo>
                <a:cubicBezTo>
                  <a:pt x="7006945" y="1615041"/>
                  <a:pt x="7003979" y="1603887"/>
                  <a:pt x="6999533" y="1574141"/>
                </a:cubicBezTo>
                <a:cubicBezTo>
                  <a:pt x="6992121" y="1562987"/>
                  <a:pt x="6953579" y="1529524"/>
                  <a:pt x="6952096" y="1536960"/>
                </a:cubicBezTo>
                <a:cubicBezTo>
                  <a:pt x="6947650" y="1551833"/>
                  <a:pt x="6950614" y="1570424"/>
                  <a:pt x="6949132" y="1589014"/>
                </a:cubicBezTo>
                <a:cubicBezTo>
                  <a:pt x="6952096" y="1629914"/>
                  <a:pt x="6958025" y="1648504"/>
                  <a:pt x="6960991" y="1685685"/>
                </a:cubicBezTo>
                <a:cubicBezTo>
                  <a:pt x="6971367" y="1722866"/>
                  <a:pt x="6990638" y="1763766"/>
                  <a:pt x="6969885" y="1774920"/>
                </a:cubicBezTo>
                <a:cubicBezTo>
                  <a:pt x="6941720" y="1756329"/>
                  <a:pt x="6922449" y="1707994"/>
                  <a:pt x="6913554" y="1641068"/>
                </a:cubicBezTo>
                <a:cubicBezTo>
                  <a:pt x="6889836" y="1622477"/>
                  <a:pt x="6897248" y="1715430"/>
                  <a:pt x="6898730" y="1745175"/>
                </a:cubicBezTo>
                <a:cubicBezTo>
                  <a:pt x="6894283" y="1797229"/>
                  <a:pt x="6898730" y="1867873"/>
                  <a:pt x="6892801" y="1916209"/>
                </a:cubicBezTo>
                <a:cubicBezTo>
                  <a:pt x="6849812" y="1879028"/>
                  <a:pt x="6898731" y="1715430"/>
                  <a:pt x="6875012" y="1626195"/>
                </a:cubicBezTo>
                <a:cubicBezTo>
                  <a:pt x="6848329" y="1615041"/>
                  <a:pt x="6861671" y="1633632"/>
                  <a:pt x="6842400" y="1648504"/>
                </a:cubicBezTo>
                <a:cubicBezTo>
                  <a:pt x="6823129" y="1655940"/>
                  <a:pt x="6817199" y="1652222"/>
                  <a:pt x="6806822" y="1693121"/>
                </a:cubicBezTo>
                <a:cubicBezTo>
                  <a:pt x="6792740" y="1696839"/>
                  <a:pt x="6779028" y="1695910"/>
                  <a:pt x="6771246" y="1702882"/>
                </a:cubicBezTo>
                <a:close/>
                <a:moveTo>
                  <a:pt x="6429600" y="2385285"/>
                </a:moveTo>
                <a:lnTo>
                  <a:pt x="6440541" y="2374984"/>
                </a:lnTo>
                <a:cubicBezTo>
                  <a:pt x="6444123" y="2373052"/>
                  <a:pt x="6447379" y="2373546"/>
                  <a:pt x="6449984" y="2378808"/>
                </a:cubicBezTo>
                <a:lnTo>
                  <a:pt x="6450166" y="2389000"/>
                </a:lnTo>
                <a:lnTo>
                  <a:pt x="6448030" y="2389662"/>
                </a:lnTo>
                <a:close/>
                <a:moveTo>
                  <a:pt x="6391631" y="2378808"/>
                </a:moveTo>
                <a:cubicBezTo>
                  <a:pt x="6401791" y="2377492"/>
                  <a:pt x="6411950" y="2380288"/>
                  <a:pt x="6421540" y="2383371"/>
                </a:cubicBezTo>
                <a:lnTo>
                  <a:pt x="6429600" y="2385285"/>
                </a:lnTo>
                <a:lnTo>
                  <a:pt x="6429143" y="2385715"/>
                </a:lnTo>
                <a:cubicBezTo>
                  <a:pt x="6421328" y="2394596"/>
                  <a:pt x="6413513" y="2403805"/>
                  <a:pt x="6408303" y="2394596"/>
                </a:cubicBezTo>
                <a:cubicBezTo>
                  <a:pt x="6394757" y="2389333"/>
                  <a:pt x="6390589" y="2381439"/>
                  <a:pt x="6383295" y="2410383"/>
                </a:cubicBezTo>
                <a:cubicBezTo>
                  <a:pt x="6366622" y="2439326"/>
                  <a:pt x="6389547" y="2384070"/>
                  <a:pt x="6391631" y="2378808"/>
                </a:cubicBezTo>
                <a:close/>
                <a:moveTo>
                  <a:pt x="5612320" y="3190293"/>
                </a:moveTo>
                <a:cubicBezTo>
                  <a:pt x="5610427" y="3186870"/>
                  <a:pt x="5611135" y="3187055"/>
                  <a:pt x="5617631" y="3186685"/>
                </a:cubicBezTo>
                <a:lnTo>
                  <a:pt x="5623735" y="3185921"/>
                </a:lnTo>
                <a:lnTo>
                  <a:pt x="5633691" y="3240338"/>
                </a:lnTo>
                <a:lnTo>
                  <a:pt x="5633701" y="3240399"/>
                </a:lnTo>
                <a:lnTo>
                  <a:pt x="5622614" y="3215547"/>
                </a:lnTo>
                <a:cubicBezTo>
                  <a:pt x="5618706" y="3200746"/>
                  <a:pt x="5614212" y="3193716"/>
                  <a:pt x="5612320" y="3190293"/>
                </a:cubicBezTo>
                <a:close/>
                <a:moveTo>
                  <a:pt x="5615395" y="3117689"/>
                </a:moveTo>
                <a:lnTo>
                  <a:pt x="5629126" y="3143845"/>
                </a:lnTo>
                <a:cubicBezTo>
                  <a:pt x="5633555" y="3155686"/>
                  <a:pt x="5637202" y="3169500"/>
                  <a:pt x="5639286" y="3183972"/>
                </a:cubicBezTo>
                <a:lnTo>
                  <a:pt x="5623735" y="3185921"/>
                </a:lnTo>
                <a:lnTo>
                  <a:pt x="5622651" y="3179996"/>
                </a:lnTo>
                <a:close/>
                <a:moveTo>
                  <a:pt x="5607781" y="3085753"/>
                </a:moveTo>
                <a:cubicBezTo>
                  <a:pt x="5610402" y="3081764"/>
                  <a:pt x="5613561" y="3079873"/>
                  <a:pt x="5617013" y="3079050"/>
                </a:cubicBezTo>
                <a:lnTo>
                  <a:pt x="5630254" y="3078855"/>
                </a:lnTo>
                <a:lnTo>
                  <a:pt x="5630254" y="3078880"/>
                </a:lnTo>
                <a:cubicBezTo>
                  <a:pt x="5630069" y="3089872"/>
                  <a:pt x="5629945" y="3097200"/>
                  <a:pt x="5629945" y="3097200"/>
                </a:cubicBezTo>
                <a:cubicBezTo>
                  <a:pt x="5627610" y="3152602"/>
                  <a:pt x="5633403" y="3132918"/>
                  <a:pt x="5615328" y="3117115"/>
                </a:cubicBezTo>
                <a:lnTo>
                  <a:pt x="5615395" y="3117689"/>
                </a:lnTo>
                <a:lnTo>
                  <a:pt x="5614277" y="3115560"/>
                </a:lnTo>
                <a:cubicBezTo>
                  <a:pt x="5610109" y="3110297"/>
                  <a:pt x="5601773" y="3105034"/>
                  <a:pt x="5601773" y="3105034"/>
                </a:cubicBezTo>
                <a:cubicBezTo>
                  <a:pt x="5603075" y="3095825"/>
                  <a:pt x="5605160" y="3089740"/>
                  <a:pt x="5607781" y="3085753"/>
                </a:cubicBezTo>
                <a:close/>
                <a:moveTo>
                  <a:pt x="5629489" y="3018095"/>
                </a:moveTo>
                <a:lnTo>
                  <a:pt x="5629729" y="3017668"/>
                </a:lnTo>
                <a:cubicBezTo>
                  <a:pt x="5631275" y="3014914"/>
                  <a:pt x="5633555" y="3010967"/>
                  <a:pt x="5637202" y="3005047"/>
                </a:cubicBezTo>
                <a:cubicBezTo>
                  <a:pt x="5654916" y="3012940"/>
                  <a:pt x="5645538" y="3012941"/>
                  <a:pt x="5666379" y="2999784"/>
                </a:cubicBezTo>
                <a:cubicBezTo>
                  <a:pt x="5666379" y="2999784"/>
                  <a:pt x="5670547" y="3020834"/>
                  <a:pt x="5670547" y="3031359"/>
                </a:cubicBezTo>
                <a:cubicBezTo>
                  <a:pt x="5670547" y="3041884"/>
                  <a:pt x="5666379" y="3057671"/>
                  <a:pt x="5664295" y="3062934"/>
                </a:cubicBezTo>
                <a:cubicBezTo>
                  <a:pt x="5655959" y="3068196"/>
                  <a:pt x="5647622" y="3070828"/>
                  <a:pt x="5639286" y="3078722"/>
                </a:cubicBezTo>
                <a:lnTo>
                  <a:pt x="5630254" y="3078855"/>
                </a:lnTo>
                <a:lnTo>
                  <a:pt x="5630934" y="3038577"/>
                </a:lnTo>
                <a:close/>
                <a:moveTo>
                  <a:pt x="5630836" y="2745596"/>
                </a:moveTo>
                <a:lnTo>
                  <a:pt x="5631725" y="2745354"/>
                </a:lnTo>
                <a:lnTo>
                  <a:pt x="5630780" y="2747699"/>
                </a:lnTo>
                <a:close/>
                <a:moveTo>
                  <a:pt x="5636193" y="2734274"/>
                </a:moveTo>
                <a:cubicBezTo>
                  <a:pt x="5638765" y="2730409"/>
                  <a:pt x="5641500" y="2728436"/>
                  <a:pt x="5644496" y="2727449"/>
                </a:cubicBezTo>
                <a:lnTo>
                  <a:pt x="5657153" y="2726688"/>
                </a:lnTo>
                <a:lnTo>
                  <a:pt x="5656818" y="2728437"/>
                </a:lnTo>
                <a:cubicBezTo>
                  <a:pt x="5653868" y="2740721"/>
                  <a:pt x="5651623" y="2740780"/>
                  <a:pt x="5644907" y="2741770"/>
                </a:cubicBezTo>
                <a:lnTo>
                  <a:pt x="5631725" y="2745354"/>
                </a:lnTo>
                <a:close/>
                <a:moveTo>
                  <a:pt x="5581974" y="2823490"/>
                </a:moveTo>
                <a:cubicBezTo>
                  <a:pt x="5589008" y="2812965"/>
                  <a:pt x="5600210" y="2812965"/>
                  <a:pt x="5614277" y="2810333"/>
                </a:cubicBezTo>
                <a:cubicBezTo>
                  <a:pt x="5624697" y="2791915"/>
                  <a:pt x="5618445" y="2770865"/>
                  <a:pt x="5628866" y="2752446"/>
                </a:cubicBezTo>
                <a:lnTo>
                  <a:pt x="5630780" y="2747699"/>
                </a:lnTo>
                <a:lnTo>
                  <a:pt x="5629960" y="2778428"/>
                </a:lnTo>
                <a:cubicBezTo>
                  <a:pt x="5631849" y="2805387"/>
                  <a:pt x="5641827" y="2816113"/>
                  <a:pt x="5658091" y="2823012"/>
                </a:cubicBezTo>
                <a:cubicBezTo>
                  <a:pt x="5651055" y="2891559"/>
                  <a:pt x="5608263" y="2847103"/>
                  <a:pt x="5585657" y="2850951"/>
                </a:cubicBezTo>
                <a:cubicBezTo>
                  <a:pt x="5590205" y="2880130"/>
                  <a:pt x="5615859" y="2944566"/>
                  <a:pt x="5626369" y="2960568"/>
                </a:cubicBezTo>
                <a:cubicBezTo>
                  <a:pt x="5635772" y="2994504"/>
                  <a:pt x="5630275" y="3001361"/>
                  <a:pt x="5629461" y="3017710"/>
                </a:cubicBezTo>
                <a:lnTo>
                  <a:pt x="5629489" y="3018095"/>
                </a:lnTo>
                <a:lnTo>
                  <a:pt x="5626651" y="3023136"/>
                </a:lnTo>
                <a:cubicBezTo>
                  <a:pt x="5625219" y="3025439"/>
                  <a:pt x="5624177" y="3026096"/>
                  <a:pt x="5618446" y="3031359"/>
                </a:cubicBezTo>
                <a:cubicBezTo>
                  <a:pt x="5611151" y="3028728"/>
                  <a:pt x="5600731" y="3039253"/>
                  <a:pt x="5595521" y="3026097"/>
                </a:cubicBezTo>
                <a:cubicBezTo>
                  <a:pt x="5589268" y="3010310"/>
                  <a:pt x="5620529" y="3010309"/>
                  <a:pt x="5620529" y="3010309"/>
                </a:cubicBezTo>
                <a:cubicBezTo>
                  <a:pt x="5618446" y="2986627"/>
                  <a:pt x="5617404" y="2976102"/>
                  <a:pt x="5608025" y="2968209"/>
                </a:cubicBezTo>
                <a:cubicBezTo>
                  <a:pt x="5601773" y="2952421"/>
                  <a:pt x="5593437" y="2934003"/>
                  <a:pt x="5585101" y="2926109"/>
                </a:cubicBezTo>
                <a:cubicBezTo>
                  <a:pt x="5581975" y="2915584"/>
                  <a:pt x="5575722" y="2912952"/>
                  <a:pt x="5574680" y="2899796"/>
                </a:cubicBezTo>
                <a:cubicBezTo>
                  <a:pt x="5572075" y="2855065"/>
                  <a:pt x="5574941" y="2834014"/>
                  <a:pt x="5581974" y="2823490"/>
                </a:cubicBezTo>
                <a:close/>
                <a:moveTo>
                  <a:pt x="6051901" y="1818173"/>
                </a:moveTo>
                <a:lnTo>
                  <a:pt x="6053622" y="1820324"/>
                </a:lnTo>
                <a:cubicBezTo>
                  <a:pt x="6057400" y="1826244"/>
                  <a:pt x="6060266" y="1831506"/>
                  <a:pt x="6060266" y="1831506"/>
                </a:cubicBezTo>
                <a:cubicBezTo>
                  <a:pt x="6057140" y="1863081"/>
                  <a:pt x="6056944" y="1841373"/>
                  <a:pt x="6053085" y="1821886"/>
                </a:cubicBezTo>
                <a:close/>
                <a:moveTo>
                  <a:pt x="6055092" y="1779878"/>
                </a:moveTo>
                <a:lnTo>
                  <a:pt x="6058393" y="1782499"/>
                </a:lnTo>
                <a:cubicBezTo>
                  <a:pt x="6060135" y="1783979"/>
                  <a:pt x="6062610" y="1786117"/>
                  <a:pt x="6066518" y="1789406"/>
                </a:cubicBezTo>
                <a:cubicBezTo>
                  <a:pt x="6068602" y="1792038"/>
                  <a:pt x="6072770" y="1794669"/>
                  <a:pt x="6072770" y="1794669"/>
                </a:cubicBezTo>
                <a:cubicBezTo>
                  <a:pt x="6073812" y="1799931"/>
                  <a:pt x="6079022" y="1807825"/>
                  <a:pt x="6076938" y="1810456"/>
                </a:cubicBezTo>
                <a:cubicBezTo>
                  <a:pt x="6073812" y="1815718"/>
                  <a:pt x="6067820" y="1806509"/>
                  <a:pt x="6062219" y="1795326"/>
                </a:cubicBezTo>
                <a:close/>
                <a:moveTo>
                  <a:pt x="5664564" y="1313854"/>
                </a:moveTo>
                <a:lnTo>
                  <a:pt x="5677467" y="1300772"/>
                </a:lnTo>
                <a:cubicBezTo>
                  <a:pt x="5681737" y="1298270"/>
                  <a:pt x="5685693" y="1298777"/>
                  <a:pt x="5689015" y="1305200"/>
                </a:cubicBezTo>
                <a:cubicBezTo>
                  <a:pt x="5689330" y="1305192"/>
                  <a:pt x="5689522" y="1306510"/>
                  <a:pt x="5689613" y="1308860"/>
                </a:cubicBezTo>
                <a:lnTo>
                  <a:pt x="5689606" y="1317781"/>
                </a:lnTo>
                <a:lnTo>
                  <a:pt x="5687002" y="1318681"/>
                </a:lnTo>
                <a:close/>
                <a:moveTo>
                  <a:pt x="5618421" y="1307047"/>
                </a:moveTo>
                <a:cubicBezTo>
                  <a:pt x="5630669" y="1305100"/>
                  <a:pt x="5643050" y="1308234"/>
                  <a:pt x="5654752" y="1311743"/>
                </a:cubicBezTo>
                <a:lnTo>
                  <a:pt x="5664564" y="1313854"/>
                </a:lnTo>
                <a:lnTo>
                  <a:pt x="5664026" y="1314400"/>
                </a:lnTo>
                <a:cubicBezTo>
                  <a:pt x="5654859" y="1325626"/>
                  <a:pt x="5645702" y="1337260"/>
                  <a:pt x="5639101" y="1326039"/>
                </a:cubicBezTo>
                <a:cubicBezTo>
                  <a:pt x="5622543" y="1319961"/>
                  <a:pt x="5617245" y="1310334"/>
                  <a:pt x="5609357" y="1346349"/>
                </a:cubicBezTo>
                <a:cubicBezTo>
                  <a:pt x="5590124" y="1382661"/>
                  <a:pt x="5616070" y="1313620"/>
                  <a:pt x="5618421" y="1307047"/>
                </a:cubicBezTo>
                <a:close/>
                <a:moveTo>
                  <a:pt x="5312922" y="527242"/>
                </a:moveTo>
                <a:lnTo>
                  <a:pt x="5313796" y="527970"/>
                </a:lnTo>
                <a:lnTo>
                  <a:pt x="5313411" y="529367"/>
                </a:lnTo>
                <a:lnTo>
                  <a:pt x="5311215" y="533432"/>
                </a:lnTo>
                <a:close/>
                <a:moveTo>
                  <a:pt x="5295784" y="547224"/>
                </a:moveTo>
                <a:cubicBezTo>
                  <a:pt x="5301371" y="543822"/>
                  <a:pt x="5305426" y="542088"/>
                  <a:pt x="5308786" y="537931"/>
                </a:cubicBezTo>
                <a:lnTo>
                  <a:pt x="5311215" y="533432"/>
                </a:lnTo>
                <a:lnTo>
                  <a:pt x="5308133" y="544611"/>
                </a:lnTo>
                <a:cubicBezTo>
                  <a:pt x="5304424" y="561036"/>
                  <a:pt x="5303040" y="571449"/>
                  <a:pt x="5295784" y="547224"/>
                </a:cubicBezTo>
                <a:close/>
                <a:moveTo>
                  <a:pt x="5189290" y="624665"/>
                </a:moveTo>
                <a:lnTo>
                  <a:pt x="5191442" y="627269"/>
                </a:lnTo>
                <a:cubicBezTo>
                  <a:pt x="5196203" y="634469"/>
                  <a:pt x="5199840" y="640885"/>
                  <a:pt x="5199840" y="640885"/>
                </a:cubicBezTo>
                <a:cubicBezTo>
                  <a:pt x="5197079" y="680022"/>
                  <a:pt x="5196141" y="653189"/>
                  <a:pt x="5190842" y="629217"/>
                </a:cubicBezTo>
                <a:close/>
                <a:moveTo>
                  <a:pt x="5191911" y="577218"/>
                </a:moveTo>
                <a:lnTo>
                  <a:pt x="5195989" y="580353"/>
                </a:lnTo>
                <a:cubicBezTo>
                  <a:pt x="5198145" y="582128"/>
                  <a:pt x="5201208" y="584693"/>
                  <a:pt x="5206041" y="588636"/>
                </a:cubicBezTo>
                <a:cubicBezTo>
                  <a:pt x="5208648" y="591824"/>
                  <a:pt x="5213775" y="594944"/>
                  <a:pt x="5213775" y="594944"/>
                </a:cubicBezTo>
                <a:cubicBezTo>
                  <a:pt x="5215206" y="601418"/>
                  <a:pt x="5221765" y="611012"/>
                  <a:pt x="5219328" y="614332"/>
                </a:cubicBezTo>
                <a:cubicBezTo>
                  <a:pt x="5215717" y="620937"/>
                  <a:pt x="5208171" y="609740"/>
                  <a:pt x="5201033" y="596091"/>
                </a:cubicBezTo>
                <a:close/>
                <a:moveTo>
                  <a:pt x="4877413" y="853189"/>
                </a:moveTo>
                <a:cubicBezTo>
                  <a:pt x="4870954" y="859462"/>
                  <a:pt x="4869719" y="872515"/>
                  <a:pt x="4878722" y="903206"/>
                </a:cubicBezTo>
                <a:cubicBezTo>
                  <a:pt x="4901088" y="938430"/>
                  <a:pt x="4908838" y="993569"/>
                  <a:pt x="4926350" y="1084260"/>
                </a:cubicBezTo>
                <a:cubicBezTo>
                  <a:pt x="4911802" y="1058598"/>
                  <a:pt x="4896403" y="1000404"/>
                  <a:pt x="4890339" y="961499"/>
                </a:cubicBezTo>
                <a:cubicBezTo>
                  <a:pt x="4873610" y="948915"/>
                  <a:pt x="4872179" y="942442"/>
                  <a:pt x="4851839" y="936464"/>
                </a:cubicBezTo>
                <a:cubicBezTo>
                  <a:pt x="4829505" y="998900"/>
                  <a:pt x="4858447" y="1092549"/>
                  <a:pt x="4842671" y="1164580"/>
                </a:cubicBezTo>
                <a:cubicBezTo>
                  <a:pt x="4831411" y="1168129"/>
                  <a:pt x="4812161" y="1155611"/>
                  <a:pt x="4810406" y="1184956"/>
                </a:cubicBezTo>
                <a:cubicBezTo>
                  <a:pt x="4809742" y="1207761"/>
                  <a:pt x="4820030" y="1311663"/>
                  <a:pt x="4812449" y="1263032"/>
                </a:cubicBezTo>
                <a:cubicBezTo>
                  <a:pt x="4800848" y="1253569"/>
                  <a:pt x="4795534" y="1195111"/>
                  <a:pt x="4788737" y="1224588"/>
                </a:cubicBezTo>
                <a:cubicBezTo>
                  <a:pt x="4774290" y="1251009"/>
                  <a:pt x="4764716" y="1270791"/>
                  <a:pt x="4763387" y="1316401"/>
                </a:cubicBezTo>
                <a:cubicBezTo>
                  <a:pt x="4732127" y="1326985"/>
                  <a:pt x="4750031" y="1336283"/>
                  <a:pt x="4740388" y="1401642"/>
                </a:cubicBezTo>
                <a:cubicBezTo>
                  <a:pt x="4735022" y="1437592"/>
                  <a:pt x="4731410" y="1444197"/>
                  <a:pt x="4742432" y="1479718"/>
                </a:cubicBezTo>
                <a:cubicBezTo>
                  <a:pt x="4742432" y="1479718"/>
                  <a:pt x="4753027" y="1498973"/>
                  <a:pt x="4758240" y="1505347"/>
                </a:cubicBezTo>
                <a:cubicBezTo>
                  <a:pt x="4763452" y="1511722"/>
                  <a:pt x="4769670" y="1508304"/>
                  <a:pt x="4776059" y="1511391"/>
                </a:cubicBezTo>
                <a:cubicBezTo>
                  <a:pt x="4787148" y="1501336"/>
                  <a:pt x="4789398" y="1442680"/>
                  <a:pt x="4795547" y="1484839"/>
                </a:cubicBezTo>
                <a:cubicBezTo>
                  <a:pt x="4791611" y="1527262"/>
                  <a:pt x="4786058" y="1507874"/>
                  <a:pt x="4784984" y="1563244"/>
                </a:cubicBezTo>
                <a:cubicBezTo>
                  <a:pt x="4773570" y="1609118"/>
                  <a:pt x="4775017" y="1664421"/>
                  <a:pt x="4773943" y="1719791"/>
                </a:cubicBezTo>
                <a:lnTo>
                  <a:pt x="4773249" y="1693255"/>
                </a:lnTo>
                <a:lnTo>
                  <a:pt x="4773366" y="1691729"/>
                </a:lnTo>
                <a:cubicBezTo>
                  <a:pt x="4773428" y="1688065"/>
                  <a:pt x="4773007" y="1684006"/>
                  <a:pt x="4772581" y="1667741"/>
                </a:cubicBezTo>
                <a:lnTo>
                  <a:pt x="4773249" y="1693255"/>
                </a:lnTo>
                <a:lnTo>
                  <a:pt x="4772851" y="1698405"/>
                </a:lnTo>
                <a:cubicBezTo>
                  <a:pt x="4772519" y="1701517"/>
                  <a:pt x="4772006" y="1706006"/>
                  <a:pt x="4771252" y="1713350"/>
                </a:cubicBezTo>
                <a:cubicBezTo>
                  <a:pt x="4762768" y="1726594"/>
                  <a:pt x="4760758" y="1746179"/>
                  <a:pt x="4752274" y="1759423"/>
                </a:cubicBezTo>
                <a:cubicBezTo>
                  <a:pt x="4730929" y="1763236"/>
                  <a:pt x="4717982" y="1750553"/>
                  <a:pt x="4707743" y="1793141"/>
                </a:cubicBezTo>
                <a:cubicBezTo>
                  <a:pt x="4695733" y="1816243"/>
                  <a:pt x="4703978" y="1842070"/>
                  <a:pt x="4691967" y="1865172"/>
                </a:cubicBezTo>
                <a:cubicBezTo>
                  <a:pt x="4658101" y="1872570"/>
                  <a:pt x="4637761" y="1866590"/>
                  <a:pt x="4646959" y="1977032"/>
                </a:cubicBezTo>
                <a:cubicBezTo>
                  <a:pt x="4648645" y="1993265"/>
                  <a:pt x="4656294" y="1996321"/>
                  <a:pt x="4660416" y="2009234"/>
                </a:cubicBezTo>
                <a:cubicBezTo>
                  <a:pt x="4670756" y="2018730"/>
                  <a:pt x="4681437" y="2041237"/>
                  <a:pt x="4689512" y="2060559"/>
                </a:cubicBezTo>
                <a:cubicBezTo>
                  <a:pt x="4701112" y="2070021"/>
                  <a:pt x="4702714" y="2083001"/>
                  <a:pt x="4706001" y="2112213"/>
                </a:cubicBezTo>
                <a:cubicBezTo>
                  <a:pt x="4706001" y="2112213"/>
                  <a:pt x="4668183" y="2113202"/>
                  <a:pt x="4676257" y="2132524"/>
                </a:cubicBezTo>
                <a:cubicBezTo>
                  <a:pt x="4682986" y="2148625"/>
                  <a:pt x="4695252" y="2135282"/>
                  <a:pt x="4704161" y="2138305"/>
                </a:cubicBezTo>
                <a:cubicBezTo>
                  <a:pt x="4717687" y="2124929"/>
                  <a:pt x="4709118" y="2134919"/>
                  <a:pt x="4726001" y="2105179"/>
                </a:cubicBezTo>
                <a:cubicBezTo>
                  <a:pt x="4747686" y="2114378"/>
                  <a:pt x="4736341" y="2114674"/>
                  <a:pt x="4761127" y="2097749"/>
                </a:cubicBezTo>
                <a:cubicBezTo>
                  <a:pt x="4761127" y="2097749"/>
                  <a:pt x="4766851" y="2123642"/>
                  <a:pt x="4767191" y="2136655"/>
                </a:cubicBezTo>
                <a:cubicBezTo>
                  <a:pt x="4767532" y="2149667"/>
                  <a:pt x="4763000" y="2169318"/>
                  <a:pt x="4760649" y="2175891"/>
                </a:cubicBezTo>
                <a:cubicBezTo>
                  <a:pt x="4750734" y="2182661"/>
                  <a:pt x="4740735" y="2186178"/>
                  <a:pt x="4730905" y="2196201"/>
                </a:cubicBezTo>
                <a:cubicBezTo>
                  <a:pt x="4713342" y="2199916"/>
                  <a:pt x="4691486" y="2184211"/>
                  <a:pt x="4686374" y="2229920"/>
                </a:cubicBezTo>
                <a:cubicBezTo>
                  <a:pt x="4686374" y="2229920"/>
                  <a:pt x="4696630" y="2236163"/>
                  <a:pt x="4701843" y="2242536"/>
                </a:cubicBezTo>
                <a:cubicBezTo>
                  <a:pt x="4714874" y="2258473"/>
                  <a:pt x="4728331" y="2290674"/>
                  <a:pt x="4734311" y="2326327"/>
                </a:cubicBezTo>
                <a:cubicBezTo>
                  <a:pt x="4684142" y="2337406"/>
                  <a:pt x="4701279" y="2317425"/>
                  <a:pt x="4715162" y="2365892"/>
                </a:cubicBezTo>
                <a:cubicBezTo>
                  <a:pt x="4725673" y="2381894"/>
                  <a:pt x="4735263" y="2410941"/>
                  <a:pt x="4742247" y="2436802"/>
                </a:cubicBezTo>
                <a:cubicBezTo>
                  <a:pt x="4754103" y="2456024"/>
                  <a:pt x="4762008" y="2468839"/>
                  <a:pt x="4769981" y="2436076"/>
                </a:cubicBezTo>
                <a:cubicBezTo>
                  <a:pt x="4797544" y="2428844"/>
                  <a:pt x="4815772" y="2402324"/>
                  <a:pt x="4842074" y="2395125"/>
                </a:cubicBezTo>
                <a:cubicBezTo>
                  <a:pt x="4864016" y="2414083"/>
                  <a:pt x="4884866" y="2439580"/>
                  <a:pt x="4904627" y="2471617"/>
                </a:cubicBezTo>
                <a:cubicBezTo>
                  <a:pt x="4909924" y="2481245"/>
                  <a:pt x="4917574" y="2484300"/>
                  <a:pt x="4920435" y="2497246"/>
                </a:cubicBezTo>
                <a:cubicBezTo>
                  <a:pt x="4924813" y="2519919"/>
                  <a:pt x="4922973" y="2546010"/>
                  <a:pt x="4924829" y="2568750"/>
                </a:cubicBezTo>
                <a:cubicBezTo>
                  <a:pt x="4924829" y="2568750"/>
                  <a:pt x="4928031" y="2594708"/>
                  <a:pt x="4930893" y="2607655"/>
                </a:cubicBezTo>
                <a:cubicBezTo>
                  <a:pt x="4938048" y="2640022"/>
                  <a:pt x="4945202" y="2672388"/>
                  <a:pt x="4953617" y="2704722"/>
                </a:cubicBezTo>
                <a:cubicBezTo>
                  <a:pt x="4973479" y="2788842"/>
                  <a:pt x="4971501" y="2906086"/>
                  <a:pt x="4968842" y="2997307"/>
                </a:cubicBezTo>
                <a:cubicBezTo>
                  <a:pt x="4968842" y="2997307"/>
                  <a:pt x="4974991" y="3039465"/>
                  <a:pt x="4980459" y="3055599"/>
                </a:cubicBezTo>
                <a:cubicBezTo>
                  <a:pt x="4994342" y="3104067"/>
                  <a:pt x="4994428" y="3107319"/>
                  <a:pt x="4998481" y="3165810"/>
                </a:cubicBezTo>
                <a:cubicBezTo>
                  <a:pt x="5004545" y="3204716"/>
                  <a:pt x="5015141" y="3223971"/>
                  <a:pt x="5027576" y="3217135"/>
                </a:cubicBezTo>
                <a:cubicBezTo>
                  <a:pt x="5042124" y="3242797"/>
                  <a:pt x="5054645" y="3239214"/>
                  <a:pt x="5064406" y="3274768"/>
                </a:cubicBezTo>
                <a:cubicBezTo>
                  <a:pt x="5073656" y="3290803"/>
                  <a:pt x="5079379" y="3316696"/>
                  <a:pt x="5083927" y="3345875"/>
                </a:cubicBezTo>
                <a:cubicBezTo>
                  <a:pt x="5066774" y="3317025"/>
                  <a:pt x="5059380" y="3323730"/>
                  <a:pt x="5035343" y="3321103"/>
                </a:cubicBezTo>
                <a:cubicBezTo>
                  <a:pt x="5011902" y="3341249"/>
                  <a:pt x="5023025" y="3428853"/>
                  <a:pt x="5032036" y="3483958"/>
                </a:cubicBezTo>
                <a:cubicBezTo>
                  <a:pt x="5054914" y="3538701"/>
                  <a:pt x="5051557" y="3555066"/>
                  <a:pt x="5051420" y="3646219"/>
                </a:cubicBezTo>
                <a:cubicBezTo>
                  <a:pt x="5041283" y="3740891"/>
                  <a:pt x="5050140" y="3838319"/>
                  <a:pt x="5051518" y="3939200"/>
                </a:cubicBezTo>
                <a:cubicBezTo>
                  <a:pt x="5051518" y="3939200"/>
                  <a:pt x="5060103" y="3978040"/>
                  <a:pt x="5063135" y="3997493"/>
                </a:cubicBezTo>
                <a:cubicBezTo>
                  <a:pt x="5070630" y="4042872"/>
                  <a:pt x="5088704" y="4058676"/>
                  <a:pt x="5091242" y="4107440"/>
                </a:cubicBezTo>
                <a:cubicBezTo>
                  <a:pt x="5097391" y="4149599"/>
                  <a:pt x="5096061" y="4195209"/>
                  <a:pt x="5102210" y="4237368"/>
                </a:cubicBezTo>
                <a:cubicBezTo>
                  <a:pt x="5115413" y="4259810"/>
                  <a:pt x="5117610" y="4295562"/>
                  <a:pt x="5124764" y="4327928"/>
                </a:cubicBezTo>
                <a:cubicBezTo>
                  <a:pt x="5132003" y="4363547"/>
                  <a:pt x="5139583" y="4412180"/>
                  <a:pt x="5147998" y="4444513"/>
                </a:cubicBezTo>
                <a:cubicBezTo>
                  <a:pt x="5150860" y="4457460"/>
                  <a:pt x="5157333" y="4463802"/>
                  <a:pt x="5161456" y="4476715"/>
                </a:cubicBezTo>
                <a:cubicBezTo>
                  <a:pt x="5161456" y="4476715"/>
                  <a:pt x="5172051" y="4495970"/>
                  <a:pt x="5177264" y="4502344"/>
                </a:cubicBezTo>
                <a:cubicBezTo>
                  <a:pt x="5191641" y="4521500"/>
                  <a:pt x="5204673" y="4537436"/>
                  <a:pt x="5216785" y="4566417"/>
                </a:cubicBezTo>
                <a:cubicBezTo>
                  <a:pt x="5233513" y="4579001"/>
                  <a:pt x="5251247" y="4581792"/>
                  <a:pt x="5267720" y="4584617"/>
                </a:cubicBezTo>
                <a:cubicBezTo>
                  <a:pt x="5281400" y="4528917"/>
                  <a:pt x="5283054" y="4447490"/>
                  <a:pt x="5282612" y="4382394"/>
                </a:cubicBezTo>
                <a:cubicBezTo>
                  <a:pt x="5282612" y="4382394"/>
                  <a:pt x="5284452" y="4356303"/>
                  <a:pt x="5286633" y="4343225"/>
                </a:cubicBezTo>
                <a:cubicBezTo>
                  <a:pt x="5288813" y="4330146"/>
                  <a:pt x="5282170" y="4317298"/>
                  <a:pt x="5285611" y="4304187"/>
                </a:cubicBezTo>
                <a:cubicBezTo>
                  <a:pt x="5313328" y="4254631"/>
                  <a:pt x="5316226" y="4124340"/>
                  <a:pt x="5316789" y="4049452"/>
                </a:cubicBezTo>
                <a:cubicBezTo>
                  <a:pt x="5316789" y="4049452"/>
                  <a:pt x="5335358" y="4035945"/>
                  <a:pt x="5344012" y="4029207"/>
                </a:cubicBezTo>
                <a:cubicBezTo>
                  <a:pt x="5361235" y="4012480"/>
                  <a:pt x="5371814" y="3982904"/>
                  <a:pt x="5387691" y="3962957"/>
                </a:cubicBezTo>
                <a:cubicBezTo>
                  <a:pt x="5398611" y="3946395"/>
                  <a:pt x="5410281" y="3910280"/>
                  <a:pt x="5415903" y="3884090"/>
                </a:cubicBezTo>
                <a:cubicBezTo>
                  <a:pt x="5423791" y="3848074"/>
                  <a:pt x="5444592" y="3727081"/>
                  <a:pt x="5446092" y="3687977"/>
                </a:cubicBezTo>
                <a:cubicBezTo>
                  <a:pt x="5456671" y="3658403"/>
                  <a:pt x="5449448" y="3671613"/>
                  <a:pt x="5467931" y="3654853"/>
                </a:cubicBezTo>
                <a:cubicBezTo>
                  <a:pt x="5475495" y="3654654"/>
                  <a:pt x="5554743" y="3646070"/>
                  <a:pt x="5559684" y="3593855"/>
                </a:cubicBezTo>
                <a:cubicBezTo>
                  <a:pt x="5562785" y="3567730"/>
                  <a:pt x="5580263" y="3560762"/>
                  <a:pt x="5583364" y="3534639"/>
                </a:cubicBezTo>
                <a:cubicBezTo>
                  <a:pt x="5596635" y="3511504"/>
                  <a:pt x="5600826" y="3478840"/>
                  <a:pt x="5611406" y="3449265"/>
                </a:cubicBezTo>
                <a:cubicBezTo>
                  <a:pt x="5618458" y="3429548"/>
                  <a:pt x="5615512" y="3413348"/>
                  <a:pt x="5625171" y="3396819"/>
                </a:cubicBezTo>
                <a:cubicBezTo>
                  <a:pt x="5562549" y="3365904"/>
                  <a:pt x="5572242" y="3447034"/>
                  <a:pt x="5562926" y="3235679"/>
                </a:cubicBezTo>
                <a:cubicBezTo>
                  <a:pt x="5575788" y="3245109"/>
                  <a:pt x="5582516" y="3261210"/>
                  <a:pt x="5587150" y="3293641"/>
                </a:cubicBezTo>
                <a:cubicBezTo>
                  <a:pt x="5595054" y="3306456"/>
                  <a:pt x="5603128" y="3325778"/>
                  <a:pt x="5611032" y="3338592"/>
                </a:cubicBezTo>
                <a:cubicBezTo>
                  <a:pt x="5640282" y="3347593"/>
                  <a:pt x="5637760" y="3347659"/>
                  <a:pt x="5639754" y="3279244"/>
                </a:cubicBezTo>
                <a:cubicBezTo>
                  <a:pt x="5639754" y="3279244"/>
                  <a:pt x="5638954" y="3272754"/>
                  <a:pt x="5637796" y="3264646"/>
                </a:cubicBezTo>
                <a:lnTo>
                  <a:pt x="5633701" y="3240399"/>
                </a:lnTo>
                <a:lnTo>
                  <a:pt x="5634206" y="3241531"/>
                </a:lnTo>
                <a:cubicBezTo>
                  <a:pt x="5637723" y="3251727"/>
                  <a:pt x="5640849" y="3262909"/>
                  <a:pt x="5643454" y="3273435"/>
                </a:cubicBezTo>
                <a:cubicBezTo>
                  <a:pt x="5652832" y="3289222"/>
                  <a:pt x="5659085" y="3299747"/>
                  <a:pt x="5666379" y="3273434"/>
                </a:cubicBezTo>
                <a:cubicBezTo>
                  <a:pt x="5689304" y="3268172"/>
                  <a:pt x="5704934" y="3247122"/>
                  <a:pt x="5726817" y="3241859"/>
                </a:cubicBezTo>
                <a:cubicBezTo>
                  <a:pt x="5744531" y="3257647"/>
                  <a:pt x="5761203" y="3278697"/>
                  <a:pt x="5776834" y="3305010"/>
                </a:cubicBezTo>
                <a:cubicBezTo>
                  <a:pt x="5781002" y="3312904"/>
                  <a:pt x="5787254" y="3315535"/>
                  <a:pt x="5789338" y="3326059"/>
                </a:cubicBezTo>
                <a:cubicBezTo>
                  <a:pt x="5792464" y="3344479"/>
                  <a:pt x="5790380" y="3365529"/>
                  <a:pt x="5791422" y="3383947"/>
                </a:cubicBezTo>
                <a:cubicBezTo>
                  <a:pt x="5791422" y="3383947"/>
                  <a:pt x="5793506" y="3404997"/>
                  <a:pt x="5795590" y="3415523"/>
                </a:cubicBezTo>
                <a:cubicBezTo>
                  <a:pt x="5800800" y="3441835"/>
                  <a:pt x="5806010" y="3468148"/>
                  <a:pt x="5812263" y="3494460"/>
                </a:cubicBezTo>
                <a:cubicBezTo>
                  <a:pt x="5826851" y="3562873"/>
                  <a:pt x="5822683" y="3657598"/>
                  <a:pt x="5818515" y="3731273"/>
                </a:cubicBezTo>
                <a:cubicBezTo>
                  <a:pt x="5818515" y="3731273"/>
                  <a:pt x="5822683" y="3765479"/>
                  <a:pt x="5826851" y="3778636"/>
                </a:cubicBezTo>
                <a:cubicBezTo>
                  <a:pt x="5837272" y="3818105"/>
                  <a:pt x="5837271" y="3820736"/>
                  <a:pt x="5839355" y="3868098"/>
                </a:cubicBezTo>
                <a:cubicBezTo>
                  <a:pt x="5843523" y="3899674"/>
                  <a:pt x="5851859" y="3915461"/>
                  <a:pt x="5862280" y="3910199"/>
                </a:cubicBezTo>
                <a:cubicBezTo>
                  <a:pt x="5873742" y="3931249"/>
                  <a:pt x="5884162" y="3928618"/>
                  <a:pt x="5891457" y="3957561"/>
                </a:cubicBezTo>
                <a:cubicBezTo>
                  <a:pt x="5898751" y="3970718"/>
                  <a:pt x="5902919" y="3991768"/>
                  <a:pt x="5906045" y="4015449"/>
                </a:cubicBezTo>
                <a:cubicBezTo>
                  <a:pt x="5892499" y="3991767"/>
                  <a:pt x="5886247" y="3997030"/>
                  <a:pt x="5866448" y="3994399"/>
                </a:cubicBezTo>
                <a:cubicBezTo>
                  <a:pt x="5846649" y="4010187"/>
                  <a:pt x="5853944" y="4081230"/>
                  <a:pt x="5860196" y="4125962"/>
                </a:cubicBezTo>
                <a:cubicBezTo>
                  <a:pt x="5877910" y="4170693"/>
                  <a:pt x="5874784" y="4183850"/>
                  <a:pt x="5872700" y="4257525"/>
                </a:cubicBezTo>
                <a:cubicBezTo>
                  <a:pt x="5862280" y="4333831"/>
                  <a:pt x="5867490" y="4412768"/>
                  <a:pt x="5866448" y="4494337"/>
                </a:cubicBezTo>
                <a:cubicBezTo>
                  <a:pt x="5866448" y="4494337"/>
                  <a:pt x="5872700" y="4525913"/>
                  <a:pt x="5874784" y="4541700"/>
                </a:cubicBezTo>
                <a:cubicBezTo>
                  <a:pt x="5879994" y="4578538"/>
                  <a:pt x="5894583" y="4591694"/>
                  <a:pt x="5895625" y="4631163"/>
                </a:cubicBezTo>
                <a:cubicBezTo>
                  <a:pt x="5899793" y="4665369"/>
                  <a:pt x="5897709" y="4702207"/>
                  <a:pt x="5901877" y="4736413"/>
                </a:cubicBezTo>
                <a:cubicBezTo>
                  <a:pt x="5912297" y="4754832"/>
                  <a:pt x="5913339" y="4783776"/>
                  <a:pt x="5918549" y="4810088"/>
                </a:cubicBezTo>
                <a:cubicBezTo>
                  <a:pt x="5923759" y="4839032"/>
                  <a:pt x="5928970" y="4878501"/>
                  <a:pt x="5935222" y="4904813"/>
                </a:cubicBezTo>
                <a:cubicBezTo>
                  <a:pt x="5937306" y="4915338"/>
                  <a:pt x="5942516" y="4920601"/>
                  <a:pt x="5945642" y="4931126"/>
                </a:cubicBezTo>
                <a:cubicBezTo>
                  <a:pt x="5945642" y="4931126"/>
                  <a:pt x="5953979" y="4946913"/>
                  <a:pt x="5958146" y="4952176"/>
                </a:cubicBezTo>
                <a:cubicBezTo>
                  <a:pt x="5969609" y="4967963"/>
                  <a:pt x="5980029" y="4981120"/>
                  <a:pt x="5989408" y="5004801"/>
                </a:cubicBezTo>
                <a:cubicBezTo>
                  <a:pt x="6002954" y="5015327"/>
                  <a:pt x="6017542" y="5017958"/>
                  <a:pt x="6031089" y="5020589"/>
                </a:cubicBezTo>
                <a:cubicBezTo>
                  <a:pt x="6043593" y="4975858"/>
                  <a:pt x="6046719" y="4910076"/>
                  <a:pt x="6047761" y="4857451"/>
                </a:cubicBezTo>
                <a:cubicBezTo>
                  <a:pt x="6047761" y="4857451"/>
                  <a:pt x="6049845" y="4836401"/>
                  <a:pt x="6051929" y="4825876"/>
                </a:cubicBezTo>
                <a:cubicBezTo>
                  <a:pt x="6054013" y="4815351"/>
                  <a:pt x="6048803" y="4804826"/>
                  <a:pt x="6051930" y="4794301"/>
                </a:cubicBezTo>
                <a:cubicBezTo>
                  <a:pt x="6075896" y="4754832"/>
                  <a:pt x="6081106" y="4649582"/>
                  <a:pt x="6083190" y="4589062"/>
                </a:cubicBezTo>
                <a:cubicBezTo>
                  <a:pt x="6083190" y="4589062"/>
                  <a:pt x="6098820" y="4578537"/>
                  <a:pt x="6106114" y="4573275"/>
                </a:cubicBezTo>
                <a:cubicBezTo>
                  <a:pt x="6120703" y="4560119"/>
                  <a:pt x="6130081" y="4536437"/>
                  <a:pt x="6143627" y="4520650"/>
                </a:cubicBezTo>
                <a:cubicBezTo>
                  <a:pt x="6153006" y="4507494"/>
                  <a:pt x="6163426" y="4478550"/>
                  <a:pt x="6168636" y="4457500"/>
                </a:cubicBezTo>
                <a:cubicBezTo>
                  <a:pt x="6175930" y="4428556"/>
                  <a:pt x="6195729" y="4331200"/>
                  <a:pt x="6197813" y="4299625"/>
                </a:cubicBezTo>
                <a:cubicBezTo>
                  <a:pt x="6207192" y="4275943"/>
                  <a:pt x="6200939" y="4286468"/>
                  <a:pt x="6216570" y="4273312"/>
                </a:cubicBezTo>
                <a:cubicBezTo>
                  <a:pt x="6222822" y="4273312"/>
                  <a:pt x="6288469" y="4268050"/>
                  <a:pt x="6293680" y="4225950"/>
                </a:cubicBezTo>
                <a:cubicBezTo>
                  <a:pt x="6296806" y="4204900"/>
                  <a:pt x="6311394" y="4199637"/>
                  <a:pt x="6314520" y="4178586"/>
                </a:cubicBezTo>
                <a:cubicBezTo>
                  <a:pt x="6325982" y="4160168"/>
                  <a:pt x="6330151" y="4133855"/>
                  <a:pt x="6339529" y="4110174"/>
                </a:cubicBezTo>
                <a:cubicBezTo>
                  <a:pt x="6345781" y="4094386"/>
                  <a:pt x="6343697" y="4081230"/>
                  <a:pt x="6352033" y="4068074"/>
                </a:cubicBezTo>
                <a:cubicBezTo>
                  <a:pt x="6300974" y="4041761"/>
                  <a:pt x="6307226" y="4107543"/>
                  <a:pt x="6304100" y="3936511"/>
                </a:cubicBezTo>
                <a:cubicBezTo>
                  <a:pt x="6314520" y="3944405"/>
                  <a:pt x="6319730" y="3957561"/>
                  <a:pt x="6322857" y="3983874"/>
                </a:cubicBezTo>
                <a:cubicBezTo>
                  <a:pt x="6329109" y="3994399"/>
                  <a:pt x="6335361" y="4010186"/>
                  <a:pt x="6341613" y="4020711"/>
                </a:cubicBezTo>
                <a:cubicBezTo>
                  <a:pt x="6365579" y="4028605"/>
                  <a:pt x="6363495" y="4028605"/>
                  <a:pt x="6366622" y="3973349"/>
                </a:cubicBezTo>
                <a:cubicBezTo>
                  <a:pt x="6366622" y="3973349"/>
                  <a:pt x="6364538" y="3952299"/>
                  <a:pt x="6362454" y="3941774"/>
                </a:cubicBezTo>
                <a:cubicBezTo>
                  <a:pt x="6354118" y="3910198"/>
                  <a:pt x="6354117" y="3875992"/>
                  <a:pt x="6349950" y="3841786"/>
                </a:cubicBezTo>
                <a:cubicBezTo>
                  <a:pt x="6364538" y="3854942"/>
                  <a:pt x="6359328" y="3870730"/>
                  <a:pt x="6362454" y="3825998"/>
                </a:cubicBezTo>
                <a:cubicBezTo>
                  <a:pt x="6362454" y="3825998"/>
                  <a:pt x="6363496" y="3802317"/>
                  <a:pt x="6364538" y="3778636"/>
                </a:cubicBezTo>
                <a:cubicBezTo>
                  <a:pt x="6360369" y="3749692"/>
                  <a:pt x="6371832" y="3752323"/>
                  <a:pt x="6362453" y="3715486"/>
                </a:cubicBezTo>
                <a:cubicBezTo>
                  <a:pt x="6354118" y="3702329"/>
                  <a:pt x="6334319" y="3649704"/>
                  <a:pt x="6331193" y="3626023"/>
                </a:cubicBezTo>
                <a:cubicBezTo>
                  <a:pt x="6349949" y="3623392"/>
                  <a:pt x="6384337" y="3660230"/>
                  <a:pt x="6391630" y="3604973"/>
                </a:cubicBezTo>
                <a:cubicBezTo>
                  <a:pt x="6373916" y="3597079"/>
                  <a:pt x="6365580" y="3583923"/>
                  <a:pt x="6370790" y="3541822"/>
                </a:cubicBezTo>
                <a:cubicBezTo>
                  <a:pt x="6391631" y="3533929"/>
                  <a:pt x="6388504" y="3549716"/>
                  <a:pt x="6397882" y="3504986"/>
                </a:cubicBezTo>
                <a:cubicBezTo>
                  <a:pt x="6410387" y="3447097"/>
                  <a:pt x="6398925" y="3526035"/>
                  <a:pt x="6406219" y="3473410"/>
                </a:cubicBezTo>
                <a:cubicBezTo>
                  <a:pt x="6374958" y="3460254"/>
                  <a:pt x="6371832" y="3415522"/>
                  <a:pt x="6362454" y="3341847"/>
                </a:cubicBezTo>
                <a:cubicBezTo>
                  <a:pt x="6366621" y="3312904"/>
                  <a:pt x="6365579" y="3357635"/>
                  <a:pt x="6374958" y="3394472"/>
                </a:cubicBezTo>
                <a:cubicBezTo>
                  <a:pt x="6405177" y="3444467"/>
                  <a:pt x="6397882" y="3386579"/>
                  <a:pt x="6399967" y="3310272"/>
                </a:cubicBezTo>
                <a:cubicBezTo>
                  <a:pt x="6399967" y="3310272"/>
                  <a:pt x="6396840" y="3289222"/>
                  <a:pt x="6395798" y="3278697"/>
                </a:cubicBezTo>
                <a:cubicBezTo>
                  <a:pt x="6391630" y="3247122"/>
                  <a:pt x="6395799" y="3268172"/>
                  <a:pt x="6389546" y="3241860"/>
                </a:cubicBezTo>
                <a:cubicBezTo>
                  <a:pt x="6377042" y="3231335"/>
                  <a:pt x="6365580" y="3207653"/>
                  <a:pt x="6358286" y="3178709"/>
                </a:cubicBezTo>
                <a:cubicBezTo>
                  <a:pt x="6348907" y="3162922"/>
                  <a:pt x="6359328" y="3157659"/>
                  <a:pt x="6362454" y="3131347"/>
                </a:cubicBezTo>
                <a:cubicBezTo>
                  <a:pt x="6404135" y="3126085"/>
                  <a:pt x="6410387" y="3157659"/>
                  <a:pt x="6414555" y="3073459"/>
                </a:cubicBezTo>
                <a:cubicBezTo>
                  <a:pt x="6379127" y="3055040"/>
                  <a:pt x="6354118" y="3010309"/>
                  <a:pt x="6368706" y="2899796"/>
                </a:cubicBezTo>
                <a:cubicBezTo>
                  <a:pt x="6383294" y="2886640"/>
                  <a:pt x="6367664" y="2807703"/>
                  <a:pt x="6374958" y="2778759"/>
                </a:cubicBezTo>
                <a:cubicBezTo>
                  <a:pt x="6383294" y="2765602"/>
                  <a:pt x="6393714" y="2802440"/>
                  <a:pt x="6402051" y="2789284"/>
                </a:cubicBezTo>
                <a:cubicBezTo>
                  <a:pt x="6395798" y="2762971"/>
                  <a:pt x="6402051" y="2694558"/>
                  <a:pt x="6399967" y="2662983"/>
                </a:cubicBezTo>
                <a:cubicBezTo>
                  <a:pt x="6402051" y="2618252"/>
                  <a:pt x="6392673" y="2605095"/>
                  <a:pt x="6397883" y="2562995"/>
                </a:cubicBezTo>
                <a:cubicBezTo>
                  <a:pt x="6398924" y="2557733"/>
                  <a:pt x="6402051" y="2570889"/>
                  <a:pt x="6404135" y="2573520"/>
                </a:cubicBezTo>
                <a:cubicBezTo>
                  <a:pt x="6410387" y="2576151"/>
                  <a:pt x="6416639" y="2576152"/>
                  <a:pt x="6422891" y="2578783"/>
                </a:cubicBezTo>
                <a:cubicBezTo>
                  <a:pt x="6428102" y="2570889"/>
                  <a:pt x="6437480" y="2531420"/>
                  <a:pt x="6433312" y="2520896"/>
                </a:cubicBezTo>
                <a:cubicBezTo>
                  <a:pt x="6429143" y="2510371"/>
                  <a:pt x="6399967" y="2523527"/>
                  <a:pt x="6395799" y="2510370"/>
                </a:cubicBezTo>
                <a:cubicBezTo>
                  <a:pt x="6386421" y="2494583"/>
                  <a:pt x="6389547" y="2486689"/>
                  <a:pt x="6397883" y="2473533"/>
                </a:cubicBezTo>
                <a:cubicBezTo>
                  <a:pt x="6413513" y="2470901"/>
                  <a:pt x="6438522" y="2499845"/>
                  <a:pt x="6443732" y="2463008"/>
                </a:cubicBezTo>
                <a:cubicBezTo>
                  <a:pt x="6445295" y="2451167"/>
                  <a:pt x="6449203" y="2409725"/>
                  <a:pt x="6450180" y="2389744"/>
                </a:cubicBezTo>
                <a:lnTo>
                  <a:pt x="6450166" y="2389000"/>
                </a:lnTo>
                <a:lnTo>
                  <a:pt x="6458925" y="2386286"/>
                </a:lnTo>
                <a:cubicBezTo>
                  <a:pt x="6468822" y="2379301"/>
                  <a:pt x="6475514" y="2360060"/>
                  <a:pt x="6477077" y="2315658"/>
                </a:cubicBezTo>
                <a:cubicBezTo>
                  <a:pt x="6498959" y="2307763"/>
                  <a:pt x="6485413" y="2278820"/>
                  <a:pt x="6493750" y="2231457"/>
                </a:cubicBezTo>
                <a:cubicBezTo>
                  <a:pt x="6497918" y="2205144"/>
                  <a:pt x="6508338" y="2191989"/>
                  <a:pt x="6516674" y="2178832"/>
                </a:cubicBezTo>
                <a:cubicBezTo>
                  <a:pt x="6509380" y="2152519"/>
                  <a:pt x="6512506" y="2123575"/>
                  <a:pt x="6508338" y="2094632"/>
                </a:cubicBezTo>
                <a:cubicBezTo>
                  <a:pt x="6508338" y="2094632"/>
                  <a:pt x="6500002" y="2089369"/>
                  <a:pt x="6495834" y="2084107"/>
                </a:cubicBezTo>
                <a:cubicBezTo>
                  <a:pt x="6477077" y="2052532"/>
                  <a:pt x="6488539" y="2063057"/>
                  <a:pt x="6462489" y="2057794"/>
                </a:cubicBezTo>
                <a:cubicBezTo>
                  <a:pt x="6449984" y="2068320"/>
                  <a:pt x="6445816" y="2094632"/>
                  <a:pt x="6433312" y="2105157"/>
                </a:cubicBezTo>
                <a:cubicBezTo>
                  <a:pt x="6430707" y="2102526"/>
                  <a:pt x="6425236" y="2097264"/>
                  <a:pt x="6420026" y="2092001"/>
                </a:cubicBezTo>
                <a:lnTo>
                  <a:pt x="6416859" y="2088446"/>
                </a:lnTo>
                <a:lnTo>
                  <a:pt x="6414555" y="2073582"/>
                </a:lnTo>
                <a:cubicBezTo>
                  <a:pt x="6411429" y="2060426"/>
                  <a:pt x="6407000" y="2049243"/>
                  <a:pt x="6403744" y="2037731"/>
                </a:cubicBezTo>
                <a:lnTo>
                  <a:pt x="6403469" y="2034974"/>
                </a:lnTo>
                <a:lnTo>
                  <a:pt x="6402881" y="2019271"/>
                </a:lnTo>
                <a:cubicBezTo>
                  <a:pt x="6402377" y="2011912"/>
                  <a:pt x="6401530" y="2005169"/>
                  <a:pt x="6399967" y="1999907"/>
                </a:cubicBezTo>
                <a:lnTo>
                  <a:pt x="6403469" y="2034974"/>
                </a:lnTo>
                <a:lnTo>
                  <a:pt x="6403744" y="2042336"/>
                </a:lnTo>
                <a:cubicBezTo>
                  <a:pt x="6404135" y="2057794"/>
                  <a:pt x="6404656" y="2072265"/>
                  <a:pt x="6408303" y="2078844"/>
                </a:cubicBezTo>
                <a:lnTo>
                  <a:pt x="6416859" y="2088446"/>
                </a:lnTo>
                <a:lnTo>
                  <a:pt x="6418072" y="2096276"/>
                </a:lnTo>
                <a:cubicBezTo>
                  <a:pt x="6417942" y="2104499"/>
                  <a:pt x="6417681" y="2113050"/>
                  <a:pt x="6420807" y="2120944"/>
                </a:cubicBezTo>
                <a:cubicBezTo>
                  <a:pt x="6422892" y="2123575"/>
                  <a:pt x="6426017" y="2123576"/>
                  <a:pt x="6427060" y="2126207"/>
                </a:cubicBezTo>
                <a:cubicBezTo>
                  <a:pt x="6428102" y="2128838"/>
                  <a:pt x="6427060" y="2139363"/>
                  <a:pt x="6429144" y="2141995"/>
                </a:cubicBezTo>
                <a:cubicBezTo>
                  <a:pt x="6431228" y="2147257"/>
                  <a:pt x="6435395" y="2163045"/>
                  <a:pt x="6433312" y="2168307"/>
                </a:cubicBezTo>
                <a:cubicBezTo>
                  <a:pt x="6430186" y="2176201"/>
                  <a:pt x="6429144" y="2149888"/>
                  <a:pt x="6424975" y="2152520"/>
                </a:cubicBezTo>
                <a:cubicBezTo>
                  <a:pt x="6411429" y="2131470"/>
                  <a:pt x="6418723" y="2197251"/>
                  <a:pt x="6408303" y="2157782"/>
                </a:cubicBezTo>
                <a:cubicBezTo>
                  <a:pt x="6408303" y="2157782"/>
                  <a:pt x="6395799" y="2113050"/>
                  <a:pt x="6391631" y="2115682"/>
                </a:cubicBezTo>
                <a:cubicBezTo>
                  <a:pt x="6387462" y="2118314"/>
                  <a:pt x="6389547" y="2136732"/>
                  <a:pt x="6387462" y="2147257"/>
                </a:cubicBezTo>
                <a:cubicBezTo>
                  <a:pt x="6383294" y="2173570"/>
                  <a:pt x="6379126" y="2197251"/>
                  <a:pt x="6374958" y="2226195"/>
                </a:cubicBezTo>
                <a:cubicBezTo>
                  <a:pt x="6374958" y="2226195"/>
                  <a:pt x="6365580" y="2236720"/>
                  <a:pt x="6362454" y="2247245"/>
                </a:cubicBezTo>
                <a:cubicBezTo>
                  <a:pt x="6354118" y="2278820"/>
                  <a:pt x="6350992" y="2305133"/>
                  <a:pt x="6345781" y="2341970"/>
                </a:cubicBezTo>
                <a:cubicBezTo>
                  <a:pt x="6348907" y="2365651"/>
                  <a:pt x="6344739" y="2370914"/>
                  <a:pt x="6337445" y="2389333"/>
                </a:cubicBezTo>
                <a:cubicBezTo>
                  <a:pt x="6323899" y="2397226"/>
                  <a:pt x="6325983" y="2378807"/>
                  <a:pt x="6329109" y="2352495"/>
                </a:cubicBezTo>
                <a:cubicBezTo>
                  <a:pt x="6342655" y="2328814"/>
                  <a:pt x="6335361" y="2291976"/>
                  <a:pt x="6343697" y="2257770"/>
                </a:cubicBezTo>
                <a:cubicBezTo>
                  <a:pt x="6343697" y="2257770"/>
                  <a:pt x="6365580" y="2231457"/>
                  <a:pt x="6366622" y="2205145"/>
                </a:cubicBezTo>
                <a:cubicBezTo>
                  <a:pt x="6368706" y="2168307"/>
                  <a:pt x="6386420" y="2034114"/>
                  <a:pt x="6358286" y="2010432"/>
                </a:cubicBezTo>
                <a:cubicBezTo>
                  <a:pt x="6358286" y="2010432"/>
                  <a:pt x="6348907" y="2020957"/>
                  <a:pt x="6345781" y="2031482"/>
                </a:cubicBezTo>
                <a:cubicBezTo>
                  <a:pt x="6338487" y="2049901"/>
                  <a:pt x="6339529" y="2089370"/>
                  <a:pt x="6329109" y="2115682"/>
                </a:cubicBezTo>
                <a:cubicBezTo>
                  <a:pt x="6321815" y="2118314"/>
                  <a:pt x="6314521" y="2110419"/>
                  <a:pt x="6308268" y="2120944"/>
                </a:cubicBezTo>
                <a:cubicBezTo>
                  <a:pt x="6305142" y="2126207"/>
                  <a:pt x="6289512" y="2152520"/>
                  <a:pt x="6289512" y="2152520"/>
                </a:cubicBezTo>
                <a:cubicBezTo>
                  <a:pt x="6284302" y="2152520"/>
                  <a:pt x="6288470" y="2126207"/>
                  <a:pt x="6291596" y="2115682"/>
                </a:cubicBezTo>
                <a:cubicBezTo>
                  <a:pt x="6307226" y="2089369"/>
                  <a:pt x="6321815" y="2099895"/>
                  <a:pt x="6312436" y="2026219"/>
                </a:cubicBezTo>
                <a:cubicBezTo>
                  <a:pt x="6292638" y="2023588"/>
                  <a:pt x="6285344" y="1999907"/>
                  <a:pt x="6266587" y="2015694"/>
                </a:cubicBezTo>
                <a:cubicBezTo>
                  <a:pt x="6241579" y="2020957"/>
                  <a:pt x="6221780" y="2044638"/>
                  <a:pt x="6204066" y="2089369"/>
                </a:cubicBezTo>
                <a:cubicBezTo>
                  <a:pt x="6195729" y="2097263"/>
                  <a:pt x="6192603" y="2115682"/>
                  <a:pt x="6189477" y="2089369"/>
                </a:cubicBezTo>
                <a:cubicBezTo>
                  <a:pt x="6206149" y="2078845"/>
                  <a:pt x="6197813" y="2042007"/>
                  <a:pt x="6206150" y="2010431"/>
                </a:cubicBezTo>
                <a:cubicBezTo>
                  <a:pt x="6206150" y="2010431"/>
                  <a:pt x="6218654" y="2002538"/>
                  <a:pt x="6224906" y="1994644"/>
                </a:cubicBezTo>
                <a:cubicBezTo>
                  <a:pt x="6226990" y="1992013"/>
                  <a:pt x="6229074" y="1986751"/>
                  <a:pt x="6231158" y="1984119"/>
                </a:cubicBezTo>
                <a:cubicBezTo>
                  <a:pt x="6235326" y="1978857"/>
                  <a:pt x="6239494" y="1976226"/>
                  <a:pt x="6243663" y="1973594"/>
                </a:cubicBezTo>
                <a:cubicBezTo>
                  <a:pt x="6283260" y="1968332"/>
                  <a:pt x="6279092" y="1968332"/>
                  <a:pt x="6306184" y="1978856"/>
                </a:cubicBezTo>
                <a:cubicBezTo>
                  <a:pt x="6306184" y="1978856"/>
                  <a:pt x="6313478" y="1963069"/>
                  <a:pt x="6318689" y="1957806"/>
                </a:cubicBezTo>
                <a:cubicBezTo>
                  <a:pt x="6322857" y="1955176"/>
                  <a:pt x="6327025" y="1949913"/>
                  <a:pt x="6331193" y="1947281"/>
                </a:cubicBezTo>
                <a:cubicBezTo>
                  <a:pt x="6364538" y="1936757"/>
                  <a:pt x="6337445" y="1944650"/>
                  <a:pt x="6352033" y="1899919"/>
                </a:cubicBezTo>
                <a:cubicBezTo>
                  <a:pt x="6354118" y="1894656"/>
                  <a:pt x="6359328" y="1902550"/>
                  <a:pt x="6360370" y="1894657"/>
                </a:cubicBezTo>
                <a:cubicBezTo>
                  <a:pt x="6363496" y="1868344"/>
                  <a:pt x="6361412" y="1842031"/>
                  <a:pt x="6362454" y="1815719"/>
                </a:cubicBezTo>
                <a:cubicBezTo>
                  <a:pt x="6355160" y="1805194"/>
                  <a:pt x="6349950" y="1792038"/>
                  <a:pt x="6341613" y="1784144"/>
                </a:cubicBezTo>
                <a:cubicBezTo>
                  <a:pt x="6325983" y="1810457"/>
                  <a:pt x="6344739" y="1786775"/>
                  <a:pt x="6333277" y="1768356"/>
                </a:cubicBezTo>
                <a:cubicBezTo>
                  <a:pt x="6329109" y="1760462"/>
                  <a:pt x="6321815" y="1765725"/>
                  <a:pt x="6316604" y="1763094"/>
                </a:cubicBezTo>
                <a:cubicBezTo>
                  <a:pt x="6312437" y="1765725"/>
                  <a:pt x="6306184" y="1789406"/>
                  <a:pt x="6304100" y="1778882"/>
                </a:cubicBezTo>
                <a:cubicBezTo>
                  <a:pt x="6302016" y="1770988"/>
                  <a:pt x="6306184" y="1760463"/>
                  <a:pt x="6306184" y="1752569"/>
                </a:cubicBezTo>
                <a:cubicBezTo>
                  <a:pt x="6307226" y="1734150"/>
                  <a:pt x="6307226" y="1713100"/>
                  <a:pt x="6308268" y="1694681"/>
                </a:cubicBezTo>
                <a:cubicBezTo>
                  <a:pt x="6288470" y="1689419"/>
                  <a:pt x="6287427" y="1692050"/>
                  <a:pt x="6270755" y="1699944"/>
                </a:cubicBezTo>
                <a:cubicBezTo>
                  <a:pt x="6270755" y="1699944"/>
                  <a:pt x="6222822" y="1692050"/>
                  <a:pt x="6216570" y="1736781"/>
                </a:cubicBezTo>
                <a:cubicBezTo>
                  <a:pt x="6174889" y="1747306"/>
                  <a:pt x="6190519" y="1736781"/>
                  <a:pt x="6179057" y="1826244"/>
                </a:cubicBezTo>
                <a:cubicBezTo>
                  <a:pt x="6156132" y="1786775"/>
                  <a:pt x="6191561" y="1755200"/>
                  <a:pt x="6156132" y="1742043"/>
                </a:cubicBezTo>
                <a:cubicBezTo>
                  <a:pt x="6148838" y="1760463"/>
                  <a:pt x="6148838" y="1784143"/>
                  <a:pt x="6141544" y="1757831"/>
                </a:cubicBezTo>
                <a:cubicBezTo>
                  <a:pt x="6150922" y="1752569"/>
                  <a:pt x="6155090" y="1752568"/>
                  <a:pt x="6160301" y="1731518"/>
                </a:cubicBezTo>
                <a:cubicBezTo>
                  <a:pt x="6179057" y="1715731"/>
                  <a:pt x="6194687" y="1684156"/>
                  <a:pt x="6214486" y="1673631"/>
                </a:cubicBezTo>
                <a:cubicBezTo>
                  <a:pt x="6226990" y="1671000"/>
                  <a:pt x="6251999" y="1676262"/>
                  <a:pt x="6268671" y="1663106"/>
                </a:cubicBezTo>
                <a:cubicBezTo>
                  <a:pt x="6274924" y="1657843"/>
                  <a:pt x="6299932" y="1642055"/>
                  <a:pt x="6295764" y="1615744"/>
                </a:cubicBezTo>
                <a:cubicBezTo>
                  <a:pt x="6293680" y="1605218"/>
                  <a:pt x="6288470" y="1599956"/>
                  <a:pt x="6285344" y="1589430"/>
                </a:cubicBezTo>
                <a:cubicBezTo>
                  <a:pt x="6267629" y="1560487"/>
                  <a:pt x="6244705" y="1552594"/>
                  <a:pt x="6226990" y="1521018"/>
                </a:cubicBezTo>
                <a:cubicBezTo>
                  <a:pt x="6217612" y="1515756"/>
                  <a:pt x="6211360" y="1507862"/>
                  <a:pt x="6201981" y="1515756"/>
                </a:cubicBezTo>
                <a:cubicBezTo>
                  <a:pt x="6181141" y="1521018"/>
                  <a:pt x="6153006" y="1518387"/>
                  <a:pt x="6135292" y="1547330"/>
                </a:cubicBezTo>
                <a:cubicBezTo>
                  <a:pt x="6120703" y="1555224"/>
                  <a:pt x="6106115" y="1573643"/>
                  <a:pt x="6093610" y="1594693"/>
                </a:cubicBezTo>
                <a:cubicBezTo>
                  <a:pt x="6083190" y="1599956"/>
                  <a:pt x="6077980" y="1607850"/>
                  <a:pt x="6068602" y="1615743"/>
                </a:cubicBezTo>
                <a:cubicBezTo>
                  <a:pt x="6062350" y="1618375"/>
                  <a:pt x="6056097" y="1615743"/>
                  <a:pt x="6049845" y="1621006"/>
                </a:cubicBezTo>
                <a:cubicBezTo>
                  <a:pt x="6047761" y="1623637"/>
                  <a:pt x="6049845" y="1634162"/>
                  <a:pt x="6047761" y="1636794"/>
                </a:cubicBezTo>
                <a:cubicBezTo>
                  <a:pt x="6039425" y="1644687"/>
                  <a:pt x="6029005" y="1639425"/>
                  <a:pt x="6020668" y="1647319"/>
                </a:cubicBezTo>
                <a:cubicBezTo>
                  <a:pt x="6020668" y="1647319"/>
                  <a:pt x="6025879" y="1668368"/>
                  <a:pt x="6024837" y="1678893"/>
                </a:cubicBezTo>
                <a:cubicBezTo>
                  <a:pt x="6024836" y="1684156"/>
                  <a:pt x="6020668" y="1676262"/>
                  <a:pt x="6018584" y="1673631"/>
                </a:cubicBezTo>
                <a:cubicBezTo>
                  <a:pt x="6002954" y="1671000"/>
                  <a:pt x="5986281" y="1657844"/>
                  <a:pt x="5997744" y="1699944"/>
                </a:cubicBezTo>
                <a:cubicBezTo>
                  <a:pt x="6005038" y="1713100"/>
                  <a:pt x="6013374" y="1734149"/>
                  <a:pt x="6018585" y="1752568"/>
                </a:cubicBezTo>
                <a:cubicBezTo>
                  <a:pt x="6034215" y="1755199"/>
                  <a:pt x="6039425" y="1749937"/>
                  <a:pt x="6049845" y="1768356"/>
                </a:cubicBezTo>
                <a:cubicBezTo>
                  <a:pt x="6050627" y="1769672"/>
                  <a:pt x="6052320" y="1773618"/>
                  <a:pt x="6054518" y="1778634"/>
                </a:cubicBezTo>
                <a:lnTo>
                  <a:pt x="6055092" y="1779878"/>
                </a:lnTo>
                <a:lnTo>
                  <a:pt x="6054664" y="1779539"/>
                </a:lnTo>
                <a:cubicBezTo>
                  <a:pt x="6052710" y="1778224"/>
                  <a:pt x="6050887" y="1777566"/>
                  <a:pt x="6043593" y="1773618"/>
                </a:cubicBezTo>
                <a:cubicBezTo>
                  <a:pt x="6039425" y="1770987"/>
                  <a:pt x="6046719" y="1794669"/>
                  <a:pt x="6047761" y="1805194"/>
                </a:cubicBezTo>
                <a:lnTo>
                  <a:pt x="6051901" y="1818173"/>
                </a:lnTo>
                <a:lnTo>
                  <a:pt x="6041509" y="1805194"/>
                </a:lnTo>
                <a:cubicBezTo>
                  <a:pt x="6022753" y="1799931"/>
                  <a:pt x="6011290" y="1789406"/>
                  <a:pt x="5993575" y="1805194"/>
                </a:cubicBezTo>
                <a:cubicBezTo>
                  <a:pt x="5993575" y="1805194"/>
                  <a:pt x="5996702" y="1826244"/>
                  <a:pt x="5997744" y="1836769"/>
                </a:cubicBezTo>
                <a:cubicBezTo>
                  <a:pt x="5999828" y="1855188"/>
                  <a:pt x="6006080" y="1865713"/>
                  <a:pt x="6008164" y="1884132"/>
                </a:cubicBezTo>
                <a:cubicBezTo>
                  <a:pt x="6018585" y="1899919"/>
                  <a:pt x="6019626" y="1920969"/>
                  <a:pt x="6024837" y="1947282"/>
                </a:cubicBezTo>
                <a:cubicBezTo>
                  <a:pt x="6009206" y="1934126"/>
                  <a:pt x="6005038" y="1860450"/>
                  <a:pt x="5995660" y="1831506"/>
                </a:cubicBezTo>
                <a:cubicBezTo>
                  <a:pt x="5990450" y="1815719"/>
                  <a:pt x="5981071" y="1818350"/>
                  <a:pt x="5974819" y="1815719"/>
                </a:cubicBezTo>
                <a:cubicBezTo>
                  <a:pt x="5959189" y="1842032"/>
                  <a:pt x="5961273" y="1860450"/>
                  <a:pt x="5970651" y="1894656"/>
                </a:cubicBezTo>
                <a:cubicBezTo>
                  <a:pt x="5982113" y="1913075"/>
                  <a:pt x="5990450" y="1944650"/>
                  <a:pt x="5997744" y="1973595"/>
                </a:cubicBezTo>
                <a:cubicBezTo>
                  <a:pt x="6012332" y="1997275"/>
                  <a:pt x="6011290" y="2034113"/>
                  <a:pt x="6014416" y="2073581"/>
                </a:cubicBezTo>
                <a:cubicBezTo>
                  <a:pt x="5999828" y="2060425"/>
                  <a:pt x="5993575" y="2026220"/>
                  <a:pt x="5985240" y="1994644"/>
                </a:cubicBezTo>
                <a:cubicBezTo>
                  <a:pt x="5975861" y="1986750"/>
                  <a:pt x="5967525" y="1968332"/>
                  <a:pt x="5962315" y="1947282"/>
                </a:cubicBezTo>
                <a:cubicBezTo>
                  <a:pt x="5955020" y="1934126"/>
                  <a:pt x="5952937" y="1926231"/>
                  <a:pt x="5949810" y="1905181"/>
                </a:cubicBezTo>
                <a:cubicBezTo>
                  <a:pt x="5944600" y="1897288"/>
                  <a:pt x="5917507" y="1873607"/>
                  <a:pt x="5916465" y="1878869"/>
                </a:cubicBezTo>
                <a:cubicBezTo>
                  <a:pt x="5913340" y="1889394"/>
                  <a:pt x="5915423" y="1902550"/>
                  <a:pt x="5914381" y="1915707"/>
                </a:cubicBezTo>
                <a:cubicBezTo>
                  <a:pt x="5916466" y="1944651"/>
                  <a:pt x="5920634" y="1957806"/>
                  <a:pt x="5922718" y="1984119"/>
                </a:cubicBezTo>
                <a:cubicBezTo>
                  <a:pt x="5930012" y="2010431"/>
                  <a:pt x="5943559" y="2039375"/>
                  <a:pt x="5928970" y="2047269"/>
                </a:cubicBezTo>
                <a:cubicBezTo>
                  <a:pt x="5909171" y="2034113"/>
                  <a:pt x="5895625" y="1999907"/>
                  <a:pt x="5889373" y="1952544"/>
                </a:cubicBezTo>
                <a:cubicBezTo>
                  <a:pt x="5872701" y="1939388"/>
                  <a:pt x="5877911" y="2005169"/>
                  <a:pt x="5878953" y="2026219"/>
                </a:cubicBezTo>
                <a:cubicBezTo>
                  <a:pt x="5875826" y="2063057"/>
                  <a:pt x="5878953" y="2113051"/>
                  <a:pt x="5874784" y="2147257"/>
                </a:cubicBezTo>
                <a:cubicBezTo>
                  <a:pt x="5844566" y="2120944"/>
                  <a:pt x="5878952" y="2005169"/>
                  <a:pt x="5862280" y="1942019"/>
                </a:cubicBezTo>
                <a:cubicBezTo>
                  <a:pt x="5843524" y="1934125"/>
                  <a:pt x="5852902" y="1947281"/>
                  <a:pt x="5839355" y="1957807"/>
                </a:cubicBezTo>
                <a:cubicBezTo>
                  <a:pt x="5825809" y="1963069"/>
                  <a:pt x="5821641" y="1960438"/>
                  <a:pt x="5814347" y="1989382"/>
                </a:cubicBezTo>
                <a:cubicBezTo>
                  <a:pt x="5804448" y="1992012"/>
                  <a:pt x="5794809" y="1991355"/>
                  <a:pt x="5789338" y="1996289"/>
                </a:cubicBezTo>
                <a:cubicBezTo>
                  <a:pt x="5783867" y="2001222"/>
                  <a:pt x="5782565" y="2011748"/>
                  <a:pt x="5789338" y="2036744"/>
                </a:cubicBezTo>
                <a:cubicBezTo>
                  <a:pt x="5807053" y="2065688"/>
                  <a:pt x="5812263" y="2110419"/>
                  <a:pt x="5824767" y="2184094"/>
                </a:cubicBezTo>
                <a:cubicBezTo>
                  <a:pt x="5813305" y="2163044"/>
                  <a:pt x="5801842" y="2115682"/>
                  <a:pt x="5797674" y="2084107"/>
                </a:cubicBezTo>
                <a:cubicBezTo>
                  <a:pt x="5784128" y="2073582"/>
                  <a:pt x="5783086" y="2068320"/>
                  <a:pt x="5766413" y="2063057"/>
                </a:cubicBezTo>
                <a:cubicBezTo>
                  <a:pt x="5746615" y="2113051"/>
                  <a:pt x="5768498" y="2189357"/>
                  <a:pt x="5753909" y="2247245"/>
                </a:cubicBezTo>
                <a:cubicBezTo>
                  <a:pt x="5744531" y="2249876"/>
                  <a:pt x="5728900" y="2239351"/>
                  <a:pt x="5726816" y="2263033"/>
                </a:cubicBezTo>
                <a:cubicBezTo>
                  <a:pt x="5725774" y="2281451"/>
                  <a:pt x="5732026" y="2365651"/>
                  <a:pt x="5726816" y="2326183"/>
                </a:cubicBezTo>
                <a:cubicBezTo>
                  <a:pt x="5717438" y="2318289"/>
                  <a:pt x="5714312" y="2270927"/>
                  <a:pt x="5708060" y="2294607"/>
                </a:cubicBezTo>
                <a:cubicBezTo>
                  <a:pt x="5695556" y="2315657"/>
                  <a:pt x="5687219" y="2331445"/>
                  <a:pt x="5685135" y="2368283"/>
                </a:cubicBezTo>
                <a:cubicBezTo>
                  <a:pt x="5659084" y="2376177"/>
                  <a:pt x="5673673" y="2384070"/>
                  <a:pt x="5664295" y="2436695"/>
                </a:cubicBezTo>
                <a:cubicBezTo>
                  <a:pt x="5659084" y="2465639"/>
                  <a:pt x="5655959" y="2470901"/>
                  <a:pt x="5664295" y="2499845"/>
                </a:cubicBezTo>
                <a:cubicBezTo>
                  <a:pt x="5664295" y="2499845"/>
                  <a:pt x="5672631" y="2515633"/>
                  <a:pt x="5676799" y="2520896"/>
                </a:cubicBezTo>
                <a:cubicBezTo>
                  <a:pt x="5680967" y="2526158"/>
                  <a:pt x="5686177" y="2523527"/>
                  <a:pt x="5691387" y="2526158"/>
                </a:cubicBezTo>
                <a:cubicBezTo>
                  <a:pt x="5700765" y="2518265"/>
                  <a:pt x="5703892" y="2470902"/>
                  <a:pt x="5708060" y="2505108"/>
                </a:cubicBezTo>
                <a:cubicBezTo>
                  <a:pt x="5703892" y="2539314"/>
                  <a:pt x="5699724" y="2523527"/>
                  <a:pt x="5697639" y="2568258"/>
                </a:cubicBezTo>
                <a:cubicBezTo>
                  <a:pt x="5687219" y="2605096"/>
                  <a:pt x="5687219" y="2649827"/>
                  <a:pt x="5685135" y="2694558"/>
                </a:cubicBezTo>
                <a:lnTo>
                  <a:pt x="5685135" y="2673094"/>
                </a:lnTo>
                <a:lnTo>
                  <a:pt x="5685266" y="2671863"/>
                </a:lnTo>
                <a:cubicBezTo>
                  <a:pt x="5685396" y="2668904"/>
                  <a:pt x="5685135" y="2665615"/>
                  <a:pt x="5685135" y="2652458"/>
                </a:cubicBezTo>
                <a:lnTo>
                  <a:pt x="5685135" y="2673094"/>
                </a:lnTo>
                <a:lnTo>
                  <a:pt x="5684696" y="2677250"/>
                </a:lnTo>
                <a:cubicBezTo>
                  <a:pt x="5684354" y="2679757"/>
                  <a:pt x="5683833" y="2683376"/>
                  <a:pt x="5683051" y="2689296"/>
                </a:cubicBezTo>
                <a:cubicBezTo>
                  <a:pt x="5675757" y="2699821"/>
                  <a:pt x="5673673" y="2715609"/>
                  <a:pt x="5666379" y="2726134"/>
                </a:cubicBezTo>
                <a:lnTo>
                  <a:pt x="5657153" y="2726688"/>
                </a:lnTo>
                <a:lnTo>
                  <a:pt x="5662420" y="2699195"/>
                </a:lnTo>
                <a:cubicBezTo>
                  <a:pt x="5675674" y="2627230"/>
                  <a:pt x="5664361" y="2725187"/>
                  <a:pt x="5671483" y="2659893"/>
                </a:cubicBezTo>
                <a:cubicBezTo>
                  <a:pt x="5633239" y="2644617"/>
                  <a:pt x="5628010" y="2589413"/>
                  <a:pt x="5614281" y="2498622"/>
                </a:cubicBezTo>
                <a:cubicBezTo>
                  <a:pt x="5618387" y="2462705"/>
                  <a:pt x="5618574" y="2518041"/>
                  <a:pt x="5631111" y="2563288"/>
                </a:cubicBezTo>
                <a:cubicBezTo>
                  <a:pt x="5669286" y="2624141"/>
                  <a:pt x="5658589" y="2552803"/>
                  <a:pt x="5658641" y="2458396"/>
                </a:cubicBezTo>
                <a:cubicBezTo>
                  <a:pt x="5658641" y="2458396"/>
                  <a:pt x="5654178" y="2432470"/>
                  <a:pt x="5652577" y="2419491"/>
                </a:cubicBezTo>
                <a:cubicBezTo>
                  <a:pt x="5646513" y="2380585"/>
                  <a:pt x="5652237" y="2406478"/>
                  <a:pt x="5643822" y="2374144"/>
                </a:cubicBezTo>
                <a:cubicBezTo>
                  <a:pt x="5628354" y="2361528"/>
                  <a:pt x="5613721" y="2332612"/>
                  <a:pt x="5603961" y="2297058"/>
                </a:cubicBezTo>
                <a:cubicBezTo>
                  <a:pt x="5592104" y="2277837"/>
                  <a:pt x="5604540" y="2271000"/>
                  <a:pt x="5607471" y="2238370"/>
                </a:cubicBezTo>
                <a:cubicBezTo>
                  <a:pt x="5657725" y="2230544"/>
                  <a:pt x="5666310" y="2269384"/>
                  <a:pt x="5668628" y="2165152"/>
                </a:cubicBezTo>
                <a:cubicBezTo>
                  <a:pt x="5625172" y="2143501"/>
                  <a:pt x="5593470" y="2088990"/>
                  <a:pt x="5607543" y="1951896"/>
                </a:cubicBezTo>
                <a:cubicBezTo>
                  <a:pt x="5624766" y="1935168"/>
                  <a:pt x="5603303" y="1838069"/>
                  <a:pt x="5611191" y="1802053"/>
                </a:cubicBezTo>
                <a:cubicBezTo>
                  <a:pt x="5620850" y="1785524"/>
                  <a:pt x="5634648" y="1830737"/>
                  <a:pt x="5644307" y="1814208"/>
                </a:cubicBezTo>
                <a:cubicBezTo>
                  <a:pt x="5635892" y="1781874"/>
                  <a:pt x="5641242" y="1697095"/>
                  <a:pt x="5637700" y="1658123"/>
                </a:cubicBezTo>
                <a:cubicBezTo>
                  <a:pt x="5638774" y="1602753"/>
                  <a:pt x="5627002" y="1586785"/>
                  <a:pt x="5631943" y="1534570"/>
                </a:cubicBezTo>
                <a:cubicBezTo>
                  <a:pt x="5633034" y="1528030"/>
                  <a:pt x="5637241" y="1544197"/>
                  <a:pt x="5639847" y="1547385"/>
                </a:cubicBezTo>
                <a:cubicBezTo>
                  <a:pt x="5647496" y="1550439"/>
                  <a:pt x="5655060" y="1550242"/>
                  <a:pt x="5662709" y="1553297"/>
                </a:cubicBezTo>
                <a:cubicBezTo>
                  <a:pt x="5668756" y="1543372"/>
                  <a:pt x="5678825" y="1494279"/>
                  <a:pt x="5673442" y="1481398"/>
                </a:cubicBezTo>
                <a:cubicBezTo>
                  <a:pt x="5668059" y="1468517"/>
                  <a:pt x="5633188" y="1485707"/>
                  <a:pt x="5627720" y="1469573"/>
                </a:cubicBezTo>
                <a:cubicBezTo>
                  <a:pt x="5615863" y="1450351"/>
                  <a:pt x="5619390" y="1440493"/>
                  <a:pt x="5629049" y="1423963"/>
                </a:cubicBezTo>
                <a:cubicBezTo>
                  <a:pt x="5647873" y="1420215"/>
                  <a:pt x="5679064" y="1455208"/>
                  <a:pt x="5684175" y="1409499"/>
                </a:cubicBezTo>
                <a:cubicBezTo>
                  <a:pt x="5685683" y="1394810"/>
                  <a:pt x="5689069" y="1343450"/>
                  <a:pt x="5689605" y="1318715"/>
                </a:cubicBezTo>
                <a:lnTo>
                  <a:pt x="5689606" y="1317781"/>
                </a:lnTo>
                <a:lnTo>
                  <a:pt x="5700073" y="1314162"/>
                </a:lnTo>
                <a:cubicBezTo>
                  <a:pt x="5711820" y="1305214"/>
                  <a:pt x="5719293" y="1281214"/>
                  <a:pt x="5719748" y="1226267"/>
                </a:cubicBezTo>
                <a:cubicBezTo>
                  <a:pt x="5745965" y="1215815"/>
                  <a:pt x="5728640" y="1180460"/>
                  <a:pt x="5737193" y="1121639"/>
                </a:cubicBezTo>
                <a:cubicBezTo>
                  <a:pt x="5741384" y="1088975"/>
                  <a:pt x="5753564" y="1072380"/>
                  <a:pt x="5763224" y="1055851"/>
                </a:cubicBezTo>
                <a:cubicBezTo>
                  <a:pt x="5753548" y="1023550"/>
                  <a:pt x="5756394" y="987666"/>
                  <a:pt x="5750415" y="952013"/>
                </a:cubicBezTo>
                <a:cubicBezTo>
                  <a:pt x="5750415" y="952013"/>
                  <a:pt x="5740160" y="945771"/>
                  <a:pt x="5734947" y="939397"/>
                </a:cubicBezTo>
                <a:cubicBezTo>
                  <a:pt x="5711234" y="900953"/>
                  <a:pt x="5725442" y="913602"/>
                  <a:pt x="5693756" y="907921"/>
                </a:cubicBezTo>
                <a:cubicBezTo>
                  <a:pt x="5678970" y="921329"/>
                  <a:pt x="5674778" y="953993"/>
                  <a:pt x="5659991" y="967401"/>
                </a:cubicBezTo>
                <a:cubicBezTo>
                  <a:pt x="5656755" y="964231"/>
                  <a:pt x="5649967" y="957897"/>
                  <a:pt x="5643493" y="951556"/>
                </a:cubicBezTo>
                <a:lnTo>
                  <a:pt x="5639547" y="947262"/>
                </a:lnTo>
                <a:lnTo>
                  <a:pt x="5636279" y="928957"/>
                </a:lnTo>
                <a:cubicBezTo>
                  <a:pt x="5632072" y="912791"/>
                  <a:pt x="5626352" y="899105"/>
                  <a:pt x="5622041" y="884975"/>
                </a:cubicBezTo>
                <a:lnTo>
                  <a:pt x="5621618" y="881574"/>
                </a:lnTo>
                <a:lnTo>
                  <a:pt x="5620399" y="862179"/>
                </a:lnTo>
                <a:cubicBezTo>
                  <a:pt x="5619550" y="853097"/>
                  <a:pt x="5618308" y="844788"/>
                  <a:pt x="5616247" y="838331"/>
                </a:cubicBezTo>
                <a:lnTo>
                  <a:pt x="5621618" y="881574"/>
                </a:lnTo>
                <a:lnTo>
                  <a:pt x="5622189" y="890668"/>
                </a:lnTo>
                <a:cubicBezTo>
                  <a:pt x="5623162" y="909769"/>
                  <a:pt x="5624261" y="927644"/>
                  <a:pt x="5628886" y="935662"/>
                </a:cubicBezTo>
                <a:lnTo>
                  <a:pt x="5639547" y="947262"/>
                </a:lnTo>
                <a:lnTo>
                  <a:pt x="5641268" y="956905"/>
                </a:lnTo>
                <a:cubicBezTo>
                  <a:pt x="5641376" y="967074"/>
                  <a:pt x="5641338" y="977656"/>
                  <a:pt x="5645375" y="987316"/>
                </a:cubicBezTo>
                <a:cubicBezTo>
                  <a:pt x="5647981" y="990503"/>
                  <a:pt x="5651763" y="990404"/>
                  <a:pt x="5653109" y="993625"/>
                </a:cubicBezTo>
                <a:cubicBezTo>
                  <a:pt x="5654455" y="996844"/>
                  <a:pt x="5653534" y="1009891"/>
                  <a:pt x="5656141" y="1013077"/>
                </a:cubicBezTo>
                <a:cubicBezTo>
                  <a:pt x="5658832" y="1019518"/>
                  <a:pt x="5664385" y="1038905"/>
                  <a:pt x="5662035" y="1045477"/>
                </a:cubicBezTo>
                <a:cubicBezTo>
                  <a:pt x="5658508" y="1055336"/>
                  <a:pt x="5656396" y="1022837"/>
                  <a:pt x="5651439" y="1026222"/>
                </a:cubicBezTo>
                <a:cubicBezTo>
                  <a:pt x="5634370" y="1000626"/>
                  <a:pt x="5645323" y="1081723"/>
                  <a:pt x="5631439" y="1033256"/>
                </a:cubicBezTo>
                <a:cubicBezTo>
                  <a:pt x="5631439" y="1033256"/>
                  <a:pt x="5614865" y="978349"/>
                  <a:pt x="5609907" y="981734"/>
                </a:cubicBezTo>
                <a:cubicBezTo>
                  <a:pt x="5604950" y="985119"/>
                  <a:pt x="5608067" y="1007825"/>
                  <a:pt x="5605887" y="1020903"/>
                </a:cubicBezTo>
                <a:cubicBezTo>
                  <a:pt x="5601696" y="1053566"/>
                  <a:pt x="5597419" y="1082977"/>
                  <a:pt x="5593313" y="1118894"/>
                </a:cubicBezTo>
                <a:cubicBezTo>
                  <a:pt x="5593313" y="1118894"/>
                  <a:pt x="5582308" y="1132203"/>
                  <a:pt x="5578867" y="1145314"/>
                </a:cubicBezTo>
                <a:cubicBezTo>
                  <a:pt x="5569804" y="1184616"/>
                  <a:pt x="5566873" y="1217246"/>
                  <a:pt x="5561762" y="1262955"/>
                </a:cubicBezTo>
                <a:cubicBezTo>
                  <a:pt x="5566310" y="1292135"/>
                  <a:pt x="5561438" y="1298772"/>
                  <a:pt x="5553210" y="1321775"/>
                </a:cubicBezTo>
                <a:cubicBezTo>
                  <a:pt x="5537077" y="1331964"/>
                  <a:pt x="5539002" y="1309126"/>
                  <a:pt x="5541933" y="1276495"/>
                </a:cubicBezTo>
                <a:cubicBezTo>
                  <a:pt x="5557554" y="1246789"/>
                  <a:pt x="5547538" y="1201475"/>
                  <a:pt x="5556517" y="1158920"/>
                </a:cubicBezTo>
                <a:cubicBezTo>
                  <a:pt x="5556517" y="1158920"/>
                  <a:pt x="5582138" y="1125697"/>
                  <a:pt x="5582547" y="1093132"/>
                </a:cubicBezTo>
                <a:cubicBezTo>
                  <a:pt x="5583877" y="1047522"/>
                  <a:pt x="5600966" y="881051"/>
                  <a:pt x="5566163" y="852664"/>
                </a:cubicBezTo>
                <a:cubicBezTo>
                  <a:pt x="5566163" y="852664"/>
                  <a:pt x="5555158" y="865973"/>
                  <a:pt x="5551717" y="879085"/>
                </a:cubicBezTo>
                <a:cubicBezTo>
                  <a:pt x="5543488" y="902087"/>
                  <a:pt x="5546026" y="950851"/>
                  <a:pt x="5534271" y="983713"/>
                </a:cubicBezTo>
                <a:cubicBezTo>
                  <a:pt x="5525532" y="987197"/>
                  <a:pt x="5516452" y="977669"/>
                  <a:pt x="5509229" y="990879"/>
                </a:cubicBezTo>
                <a:cubicBezTo>
                  <a:pt x="5505617" y="997484"/>
                  <a:pt x="5487560" y="1030510"/>
                  <a:pt x="5487560" y="1030510"/>
                </a:cubicBezTo>
                <a:cubicBezTo>
                  <a:pt x="5481257" y="1030675"/>
                  <a:pt x="5485448" y="998012"/>
                  <a:pt x="5488889" y="984900"/>
                </a:cubicBezTo>
                <a:cubicBezTo>
                  <a:pt x="5506947" y="951874"/>
                  <a:pt x="5524936" y="964425"/>
                  <a:pt x="5511207" y="873634"/>
                </a:cubicBezTo>
                <a:cubicBezTo>
                  <a:pt x="5487170" y="871007"/>
                  <a:pt x="5477580" y="841960"/>
                  <a:pt x="5455399" y="862073"/>
                </a:cubicBezTo>
                <a:cubicBezTo>
                  <a:pt x="5425315" y="869371"/>
                  <a:pt x="5402130" y="899276"/>
                  <a:pt x="5382147" y="955140"/>
                </a:cubicBezTo>
                <a:cubicBezTo>
                  <a:pt x="5372317" y="965164"/>
                  <a:pt x="5369131" y="988034"/>
                  <a:pt x="5364498" y="955601"/>
                </a:cubicBezTo>
                <a:cubicBezTo>
                  <a:pt x="5384327" y="942062"/>
                  <a:pt x="5373051" y="896781"/>
                  <a:pt x="5382114" y="857480"/>
                </a:cubicBezTo>
                <a:cubicBezTo>
                  <a:pt x="5382114" y="857480"/>
                  <a:pt x="5396986" y="847324"/>
                  <a:pt x="5404294" y="837367"/>
                </a:cubicBezTo>
                <a:cubicBezTo>
                  <a:pt x="5406730" y="834048"/>
                  <a:pt x="5409081" y="827476"/>
                  <a:pt x="5411517" y="824156"/>
                </a:cubicBezTo>
                <a:cubicBezTo>
                  <a:pt x="5416390" y="817518"/>
                  <a:pt x="5421347" y="814134"/>
                  <a:pt x="5426304" y="810748"/>
                </a:cubicBezTo>
                <a:cubicBezTo>
                  <a:pt x="5474037" y="802989"/>
                  <a:pt x="5468995" y="803120"/>
                  <a:pt x="5502111" y="815275"/>
                </a:cubicBezTo>
                <a:cubicBezTo>
                  <a:pt x="5502111" y="815275"/>
                  <a:pt x="5510424" y="795525"/>
                  <a:pt x="5516557" y="788854"/>
                </a:cubicBezTo>
                <a:cubicBezTo>
                  <a:pt x="5521515" y="785469"/>
                  <a:pt x="5526386" y="778831"/>
                  <a:pt x="5531344" y="775446"/>
                </a:cubicBezTo>
                <a:cubicBezTo>
                  <a:pt x="5571343" y="761377"/>
                  <a:pt x="5538822" y="771995"/>
                  <a:pt x="5555024" y="716230"/>
                </a:cubicBezTo>
                <a:cubicBezTo>
                  <a:pt x="5557375" y="709657"/>
                  <a:pt x="5563933" y="719251"/>
                  <a:pt x="5564938" y="709459"/>
                </a:cubicBezTo>
                <a:cubicBezTo>
                  <a:pt x="5567869" y="676829"/>
                  <a:pt x="5564496" y="644363"/>
                  <a:pt x="5564906" y="611799"/>
                </a:cubicBezTo>
                <a:cubicBezTo>
                  <a:pt x="5555741" y="599017"/>
                  <a:pt x="5549012" y="582916"/>
                  <a:pt x="5538672" y="573421"/>
                </a:cubicBezTo>
                <a:cubicBezTo>
                  <a:pt x="5520614" y="606447"/>
                  <a:pt x="5542539" y="576575"/>
                  <a:pt x="5528077" y="554166"/>
                </a:cubicBezTo>
                <a:cubicBezTo>
                  <a:pt x="5522779" y="544538"/>
                  <a:pt x="5514125" y="551276"/>
                  <a:pt x="5507737" y="548187"/>
                </a:cubicBezTo>
                <a:cubicBezTo>
                  <a:pt x="5502779" y="551572"/>
                  <a:pt x="5495981" y="581049"/>
                  <a:pt x="5493120" y="568103"/>
                </a:cubicBezTo>
                <a:cubicBezTo>
                  <a:pt x="5490343" y="558409"/>
                  <a:pt x="5495045" y="545264"/>
                  <a:pt x="5494790" y="535505"/>
                </a:cubicBezTo>
                <a:cubicBezTo>
                  <a:pt x="5495454" y="512700"/>
                  <a:pt x="5494773" y="486675"/>
                  <a:pt x="5495438" y="463870"/>
                </a:cubicBezTo>
                <a:cubicBezTo>
                  <a:pt x="5471316" y="457990"/>
                  <a:pt x="5470141" y="461276"/>
                  <a:pt x="5450226" y="471564"/>
                </a:cubicBezTo>
                <a:cubicBezTo>
                  <a:pt x="5450226" y="471564"/>
                  <a:pt x="5391983" y="463322"/>
                  <a:pt x="5385866" y="518823"/>
                </a:cubicBezTo>
                <a:cubicBezTo>
                  <a:pt x="5335783" y="533155"/>
                  <a:pt x="5354351" y="519648"/>
                  <a:pt x="5343379" y="630617"/>
                </a:cubicBezTo>
                <a:cubicBezTo>
                  <a:pt x="5321621" y="594564"/>
                  <a:pt x="5339716" y="562961"/>
                  <a:pt x="5331862" y="543024"/>
                </a:cubicBezTo>
                <a:lnTo>
                  <a:pt x="5313796" y="527970"/>
                </a:lnTo>
                <a:lnTo>
                  <a:pt x="5317623" y="514098"/>
                </a:lnTo>
                <a:cubicBezTo>
                  <a:pt x="5339804" y="493986"/>
                  <a:pt x="5357691" y="454453"/>
                  <a:pt x="5381302" y="440814"/>
                </a:cubicBezTo>
                <a:cubicBezTo>
                  <a:pt x="5396344" y="437165"/>
                  <a:pt x="5426769" y="442879"/>
                  <a:pt x="5446513" y="426086"/>
                </a:cubicBezTo>
                <a:cubicBezTo>
                  <a:pt x="5453907" y="419381"/>
                  <a:pt x="5483651" y="399070"/>
                  <a:pt x="5477757" y="366672"/>
                </a:cubicBezTo>
                <a:cubicBezTo>
                  <a:pt x="5474895" y="353724"/>
                  <a:pt x="5468422" y="347383"/>
                  <a:pt x="5464300" y="334470"/>
                </a:cubicBezTo>
                <a:cubicBezTo>
                  <a:pt x="5441933" y="299246"/>
                  <a:pt x="5413944" y="290212"/>
                  <a:pt x="5391492" y="251735"/>
                </a:cubicBezTo>
                <a:cubicBezTo>
                  <a:pt x="5379976" y="245526"/>
                  <a:pt x="5372157" y="235965"/>
                  <a:pt x="5361067" y="246020"/>
                </a:cubicBezTo>
                <a:cubicBezTo>
                  <a:pt x="5336025" y="253187"/>
                  <a:pt x="5301904" y="250825"/>
                  <a:pt x="5281410" y="287170"/>
                </a:cubicBezTo>
                <a:cubicBezTo>
                  <a:pt x="5264017" y="297391"/>
                  <a:pt x="5246964" y="320625"/>
                  <a:pt x="5232518" y="347046"/>
                </a:cubicBezTo>
                <a:cubicBezTo>
                  <a:pt x="5220082" y="353882"/>
                  <a:pt x="5214034" y="363806"/>
                  <a:pt x="5202944" y="373863"/>
                </a:cubicBezTo>
                <a:cubicBezTo>
                  <a:pt x="5195466" y="377314"/>
                  <a:pt x="5187817" y="374259"/>
                  <a:pt x="5180424" y="380962"/>
                </a:cubicBezTo>
                <a:cubicBezTo>
                  <a:pt x="5177987" y="384282"/>
                  <a:pt x="5180849" y="397228"/>
                  <a:pt x="5178413" y="400547"/>
                </a:cubicBezTo>
                <a:cubicBezTo>
                  <a:pt x="5168583" y="410571"/>
                  <a:pt x="5155807" y="404395"/>
                  <a:pt x="5145978" y="414418"/>
                </a:cubicBezTo>
                <a:cubicBezTo>
                  <a:pt x="5145978" y="414418"/>
                  <a:pt x="5152962" y="440279"/>
                  <a:pt x="5152042" y="453324"/>
                </a:cubicBezTo>
                <a:cubicBezTo>
                  <a:pt x="5152212" y="459830"/>
                  <a:pt x="5146914" y="450202"/>
                  <a:pt x="5144308" y="447015"/>
                </a:cubicBezTo>
                <a:cubicBezTo>
                  <a:pt x="5125314" y="444257"/>
                  <a:pt x="5104718" y="428519"/>
                  <a:pt x="5119947" y="480206"/>
                </a:cubicBezTo>
                <a:cubicBezTo>
                  <a:pt x="5129197" y="496241"/>
                  <a:pt x="5139963" y="522003"/>
                  <a:pt x="5146862" y="544609"/>
                </a:cubicBezTo>
                <a:cubicBezTo>
                  <a:pt x="5165856" y="547368"/>
                  <a:pt x="5171989" y="540697"/>
                  <a:pt x="5185191" y="563139"/>
                </a:cubicBezTo>
                <a:cubicBezTo>
                  <a:pt x="5186179" y="564741"/>
                  <a:pt x="5188355" y="569567"/>
                  <a:pt x="5191176" y="575699"/>
                </a:cubicBezTo>
                <a:lnTo>
                  <a:pt x="5191911" y="577218"/>
                </a:lnTo>
                <a:lnTo>
                  <a:pt x="5191383" y="576813"/>
                </a:lnTo>
                <a:cubicBezTo>
                  <a:pt x="5188977" y="575247"/>
                  <a:pt x="5186749" y="574492"/>
                  <a:pt x="5177797" y="569843"/>
                </a:cubicBezTo>
                <a:cubicBezTo>
                  <a:pt x="5172670" y="566722"/>
                  <a:pt x="5182260" y="595769"/>
                  <a:pt x="5183861" y="608749"/>
                </a:cubicBezTo>
                <a:lnTo>
                  <a:pt x="5189290" y="624665"/>
                </a:lnTo>
                <a:lnTo>
                  <a:pt x="5176298" y="608946"/>
                </a:lnTo>
                <a:cubicBezTo>
                  <a:pt x="5153437" y="603034"/>
                  <a:pt x="5139229" y="590385"/>
                  <a:pt x="5118310" y="610464"/>
                </a:cubicBezTo>
                <a:cubicBezTo>
                  <a:pt x="5118310" y="610464"/>
                  <a:pt x="5122773" y="636390"/>
                  <a:pt x="5124374" y="649370"/>
                </a:cubicBezTo>
                <a:cubicBezTo>
                  <a:pt x="5127491" y="672076"/>
                  <a:pt x="5135395" y="684891"/>
                  <a:pt x="5138512" y="707596"/>
                </a:cubicBezTo>
                <a:cubicBezTo>
                  <a:pt x="5151629" y="726786"/>
                  <a:pt x="5153571" y="752778"/>
                  <a:pt x="5160725" y="785144"/>
                </a:cubicBezTo>
                <a:cubicBezTo>
                  <a:pt x="5141390" y="769374"/>
                  <a:pt x="5133964" y="678417"/>
                  <a:pt x="5121682" y="642930"/>
                </a:cubicBezTo>
                <a:cubicBezTo>
                  <a:pt x="5114868" y="623575"/>
                  <a:pt x="5103608" y="627125"/>
                  <a:pt x="5095959" y="624071"/>
                </a:cubicBezTo>
                <a:cubicBezTo>
                  <a:pt x="5077901" y="657096"/>
                  <a:pt x="5081018" y="679803"/>
                  <a:pt x="5093471" y="721797"/>
                </a:cubicBezTo>
                <a:cubicBezTo>
                  <a:pt x="5107933" y="744206"/>
                  <a:pt x="5119040" y="782979"/>
                  <a:pt x="5128800" y="818533"/>
                </a:cubicBezTo>
                <a:cubicBezTo>
                  <a:pt x="5147215" y="847350"/>
                  <a:pt x="5147146" y="892927"/>
                  <a:pt x="5152205" y="941625"/>
                </a:cubicBezTo>
                <a:cubicBezTo>
                  <a:pt x="5134131" y="925821"/>
                  <a:pt x="5125461" y="883728"/>
                  <a:pt x="5114354" y="844955"/>
                </a:cubicBezTo>
                <a:cubicBezTo>
                  <a:pt x="5102753" y="835492"/>
                  <a:pt x="5092073" y="812983"/>
                  <a:pt x="5085088" y="787123"/>
                </a:cubicBezTo>
                <a:cubicBezTo>
                  <a:pt x="5075839" y="771088"/>
                  <a:pt x="5073062" y="761395"/>
                  <a:pt x="5068599" y="735469"/>
                </a:cubicBezTo>
                <a:cubicBezTo>
                  <a:pt x="5062040" y="725875"/>
                  <a:pt x="5028499" y="697454"/>
                  <a:pt x="5027408" y="703993"/>
                </a:cubicBezTo>
                <a:cubicBezTo>
                  <a:pt x="5023967" y="717105"/>
                  <a:pt x="5026914" y="733304"/>
                  <a:pt x="5026079" y="749603"/>
                </a:cubicBezTo>
                <a:cubicBezTo>
                  <a:pt x="5029536" y="785322"/>
                  <a:pt x="5035004" y="801456"/>
                  <a:pt x="5038377" y="833921"/>
                </a:cubicBezTo>
                <a:cubicBezTo>
                  <a:pt x="5048053" y="866221"/>
                  <a:pt x="5065377" y="901578"/>
                  <a:pt x="5047984" y="911798"/>
                </a:cubicBezTo>
                <a:cubicBezTo>
                  <a:pt x="5023607" y="896159"/>
                  <a:pt x="5006112" y="854297"/>
                  <a:pt x="4997016" y="795939"/>
                </a:cubicBezTo>
                <a:cubicBezTo>
                  <a:pt x="4976420" y="780201"/>
                  <a:pt x="4984852" y="861364"/>
                  <a:pt x="4986793" y="887357"/>
                </a:cubicBezTo>
                <a:cubicBezTo>
                  <a:pt x="4984203" y="933000"/>
                  <a:pt x="4989603" y="994710"/>
                  <a:pt x="4985667" y="1037134"/>
                </a:cubicBezTo>
                <a:cubicBezTo>
                  <a:pt x="4948258" y="1005559"/>
                  <a:pt x="4986113" y="861331"/>
                  <a:pt x="4963900" y="783784"/>
                </a:cubicBezTo>
                <a:cubicBezTo>
                  <a:pt x="4940953" y="774618"/>
                  <a:pt x="4952724" y="790587"/>
                  <a:pt x="4936677" y="804028"/>
                </a:cubicBezTo>
                <a:cubicBezTo>
                  <a:pt x="4920460" y="810963"/>
                  <a:pt x="4915332" y="807843"/>
                  <a:pt x="4907444" y="843858"/>
                </a:cubicBezTo>
                <a:cubicBezTo>
                  <a:pt x="4895553" y="847425"/>
                  <a:pt x="4883871" y="846916"/>
                  <a:pt x="4877413" y="853189"/>
                </a:cubicBezTo>
                <a:close/>
                <a:moveTo>
                  <a:pt x="0" y="11048479"/>
                </a:moveTo>
                <a:lnTo>
                  <a:pt x="5240380" y="0"/>
                </a:lnTo>
                <a:lnTo>
                  <a:pt x="9579745" y="2058195"/>
                </a:lnTo>
                <a:lnTo>
                  <a:pt x="9564183" y="2059547"/>
                </a:lnTo>
                <a:cubicBezTo>
                  <a:pt x="9500107" y="2067183"/>
                  <a:pt x="9413604" y="2063366"/>
                  <a:pt x="9359139" y="2105365"/>
                </a:cubicBezTo>
                <a:cubicBezTo>
                  <a:pt x="9314286" y="2116819"/>
                  <a:pt x="9269433" y="2143546"/>
                  <a:pt x="9230987" y="2174091"/>
                </a:cubicBezTo>
                <a:cubicBezTo>
                  <a:pt x="9198949" y="2181728"/>
                  <a:pt x="9182930" y="2193182"/>
                  <a:pt x="9154096" y="2204636"/>
                </a:cubicBezTo>
                <a:cubicBezTo>
                  <a:pt x="9134873" y="2208455"/>
                  <a:pt x="9115650" y="2204637"/>
                  <a:pt x="9096428" y="2212273"/>
                </a:cubicBezTo>
                <a:cubicBezTo>
                  <a:pt x="9090020" y="2216091"/>
                  <a:pt x="9096428" y="2231363"/>
                  <a:pt x="9090020" y="2235182"/>
                </a:cubicBezTo>
                <a:cubicBezTo>
                  <a:pt x="9064390" y="2246636"/>
                  <a:pt x="9032352" y="2238999"/>
                  <a:pt x="9006721" y="2250454"/>
                </a:cubicBezTo>
                <a:cubicBezTo>
                  <a:pt x="9006721" y="2250454"/>
                  <a:pt x="9022740" y="2280999"/>
                  <a:pt x="9019537" y="2296271"/>
                </a:cubicBezTo>
                <a:cubicBezTo>
                  <a:pt x="9019536" y="2303908"/>
                  <a:pt x="9006721" y="2292453"/>
                  <a:pt x="9000314" y="2288634"/>
                </a:cubicBezTo>
                <a:cubicBezTo>
                  <a:pt x="8952257" y="2284817"/>
                  <a:pt x="8900996" y="2265726"/>
                  <a:pt x="8936237" y="2326817"/>
                </a:cubicBezTo>
                <a:cubicBezTo>
                  <a:pt x="8958665" y="2345907"/>
                  <a:pt x="8984295" y="2376452"/>
                  <a:pt x="9000314" y="2403179"/>
                </a:cubicBezTo>
                <a:cubicBezTo>
                  <a:pt x="9048370" y="2406997"/>
                  <a:pt x="9064390" y="2399361"/>
                  <a:pt x="9096428" y="2426087"/>
                </a:cubicBezTo>
                <a:cubicBezTo>
                  <a:pt x="9098831" y="2427996"/>
                  <a:pt x="9104037" y="2433724"/>
                  <a:pt x="9110795" y="2441002"/>
                </a:cubicBezTo>
                <a:lnTo>
                  <a:pt x="9112559" y="2442806"/>
                </a:lnTo>
                <a:lnTo>
                  <a:pt x="9111246" y="2442314"/>
                </a:lnTo>
                <a:cubicBezTo>
                  <a:pt x="9105238" y="2440406"/>
                  <a:pt x="9099631" y="2439452"/>
                  <a:pt x="9077204" y="2433724"/>
                </a:cubicBezTo>
                <a:cubicBezTo>
                  <a:pt x="9064390" y="2429906"/>
                  <a:pt x="9086816" y="2464269"/>
                  <a:pt x="9090020" y="2479542"/>
                </a:cubicBezTo>
                <a:lnTo>
                  <a:pt x="9102149" y="2497488"/>
                </a:lnTo>
                <a:lnTo>
                  <a:pt x="9089269" y="2488729"/>
                </a:lnTo>
                <a:cubicBezTo>
                  <a:pt x="9082812" y="2484791"/>
                  <a:pt x="9076404" y="2481451"/>
                  <a:pt x="9070797" y="2479542"/>
                </a:cubicBezTo>
                <a:cubicBezTo>
                  <a:pt x="9013129" y="2471905"/>
                  <a:pt x="8977887" y="2456632"/>
                  <a:pt x="8923422" y="2479542"/>
                </a:cubicBezTo>
                <a:cubicBezTo>
                  <a:pt x="8923422" y="2479542"/>
                  <a:pt x="8933033" y="2510087"/>
                  <a:pt x="8936238" y="2525359"/>
                </a:cubicBezTo>
                <a:cubicBezTo>
                  <a:pt x="8942645" y="2552086"/>
                  <a:pt x="8961868" y="2567358"/>
                  <a:pt x="8968276" y="2594085"/>
                </a:cubicBezTo>
                <a:cubicBezTo>
                  <a:pt x="9000313" y="2616994"/>
                  <a:pt x="9003518" y="2647539"/>
                  <a:pt x="9019537" y="2685720"/>
                </a:cubicBezTo>
                <a:cubicBezTo>
                  <a:pt x="8971479" y="2666630"/>
                  <a:pt x="8958664" y="2559722"/>
                  <a:pt x="8929830" y="2517722"/>
                </a:cubicBezTo>
                <a:cubicBezTo>
                  <a:pt x="8913811" y="2494813"/>
                  <a:pt x="8884977" y="2498632"/>
                  <a:pt x="8865754" y="2494814"/>
                </a:cubicBezTo>
                <a:cubicBezTo>
                  <a:pt x="8817697" y="2532995"/>
                  <a:pt x="8824104" y="2559722"/>
                  <a:pt x="8852938" y="2609358"/>
                </a:cubicBezTo>
                <a:cubicBezTo>
                  <a:pt x="8888181" y="2636084"/>
                  <a:pt x="8913811" y="2681902"/>
                  <a:pt x="8936237" y="2723902"/>
                </a:cubicBezTo>
                <a:cubicBezTo>
                  <a:pt x="8981091" y="2758265"/>
                  <a:pt x="8977887" y="2811718"/>
                  <a:pt x="8987498" y="2868990"/>
                </a:cubicBezTo>
                <a:cubicBezTo>
                  <a:pt x="8942645" y="2849900"/>
                  <a:pt x="8923422" y="2800264"/>
                  <a:pt x="8897792" y="2754447"/>
                </a:cubicBezTo>
                <a:cubicBezTo>
                  <a:pt x="8868958" y="2742992"/>
                  <a:pt x="8843327" y="2716266"/>
                  <a:pt x="8827308" y="2685721"/>
                </a:cubicBezTo>
                <a:cubicBezTo>
                  <a:pt x="8804882" y="2666630"/>
                  <a:pt x="8798474" y="2655175"/>
                  <a:pt x="8788863" y="2624630"/>
                </a:cubicBezTo>
                <a:cubicBezTo>
                  <a:pt x="8772844" y="2613176"/>
                  <a:pt x="8689545" y="2578813"/>
                  <a:pt x="8686341" y="2586449"/>
                </a:cubicBezTo>
                <a:cubicBezTo>
                  <a:pt x="8676729" y="2601721"/>
                  <a:pt x="8683137" y="2620812"/>
                  <a:pt x="8679934" y="2639902"/>
                </a:cubicBezTo>
                <a:cubicBezTo>
                  <a:pt x="8686341" y="2681902"/>
                  <a:pt x="8699156" y="2700993"/>
                  <a:pt x="8705564" y="2739174"/>
                </a:cubicBezTo>
                <a:cubicBezTo>
                  <a:pt x="8727990" y="2777355"/>
                  <a:pt x="8769640" y="2819354"/>
                  <a:pt x="8724787" y="2830809"/>
                </a:cubicBezTo>
                <a:cubicBezTo>
                  <a:pt x="8663915" y="2811718"/>
                  <a:pt x="8622265" y="2762082"/>
                  <a:pt x="8603042" y="2693356"/>
                </a:cubicBezTo>
                <a:cubicBezTo>
                  <a:pt x="8551782" y="2674265"/>
                  <a:pt x="8567801" y="2769719"/>
                  <a:pt x="8571004" y="2800264"/>
                </a:cubicBezTo>
                <a:cubicBezTo>
                  <a:pt x="8561393" y="2853718"/>
                  <a:pt x="8571004" y="2926262"/>
                  <a:pt x="8558189" y="2975898"/>
                </a:cubicBezTo>
                <a:cubicBezTo>
                  <a:pt x="8465279" y="2937717"/>
                  <a:pt x="8571004" y="2769719"/>
                  <a:pt x="8519743" y="2678084"/>
                </a:cubicBezTo>
                <a:cubicBezTo>
                  <a:pt x="8462075" y="2666629"/>
                  <a:pt x="8490909" y="2685720"/>
                  <a:pt x="8449260" y="2700993"/>
                </a:cubicBezTo>
                <a:cubicBezTo>
                  <a:pt x="8407610" y="2708629"/>
                  <a:pt x="8394795" y="2704810"/>
                  <a:pt x="8372369" y="2746810"/>
                </a:cubicBezTo>
                <a:cubicBezTo>
                  <a:pt x="8311496" y="2754447"/>
                  <a:pt x="8253828" y="2742992"/>
                  <a:pt x="8295477" y="2815536"/>
                </a:cubicBezTo>
                <a:cubicBezTo>
                  <a:pt x="8349942" y="2857536"/>
                  <a:pt x="8365961" y="2922444"/>
                  <a:pt x="8404407" y="3029351"/>
                </a:cubicBezTo>
                <a:cubicBezTo>
                  <a:pt x="8369165" y="2998806"/>
                  <a:pt x="8333923" y="2930080"/>
                  <a:pt x="8321108" y="2884263"/>
                </a:cubicBezTo>
                <a:cubicBezTo>
                  <a:pt x="8279458" y="2868990"/>
                  <a:pt x="8276254" y="2861354"/>
                  <a:pt x="8224994" y="2853717"/>
                </a:cubicBezTo>
                <a:cubicBezTo>
                  <a:pt x="8164121" y="2926262"/>
                  <a:pt x="8231401" y="3036988"/>
                  <a:pt x="8186548" y="3120987"/>
                </a:cubicBezTo>
                <a:cubicBezTo>
                  <a:pt x="8157714" y="3124805"/>
                  <a:pt x="8109657" y="3109532"/>
                  <a:pt x="8103249" y="3143895"/>
                </a:cubicBezTo>
                <a:cubicBezTo>
                  <a:pt x="8100045" y="3170622"/>
                  <a:pt x="8119268" y="3292802"/>
                  <a:pt x="8103249" y="3235530"/>
                </a:cubicBezTo>
                <a:cubicBezTo>
                  <a:pt x="8074415" y="3224076"/>
                  <a:pt x="8064803" y="3155350"/>
                  <a:pt x="8045580" y="3189713"/>
                </a:cubicBezTo>
                <a:cubicBezTo>
                  <a:pt x="8007135" y="3220258"/>
                  <a:pt x="7981504" y="3243167"/>
                  <a:pt x="7975097" y="3296620"/>
                </a:cubicBezTo>
                <a:cubicBezTo>
                  <a:pt x="7935050" y="3302348"/>
                  <a:pt x="7926239" y="3308075"/>
                  <a:pt x="7923836" y="3321915"/>
                </a:cubicBezTo>
                <a:cubicBezTo>
                  <a:pt x="7921434" y="3335756"/>
                  <a:pt x="7925438" y="3357710"/>
                  <a:pt x="7911021" y="3395891"/>
                </a:cubicBezTo>
                <a:cubicBezTo>
                  <a:pt x="7895002" y="3437891"/>
                  <a:pt x="7885390" y="3445527"/>
                  <a:pt x="7911021" y="3487526"/>
                </a:cubicBezTo>
                <a:cubicBezTo>
                  <a:pt x="7911021" y="3487526"/>
                  <a:pt x="7936652" y="3510436"/>
                  <a:pt x="7949467" y="3518072"/>
                </a:cubicBezTo>
                <a:cubicBezTo>
                  <a:pt x="7962282" y="3525708"/>
                  <a:pt x="7978301" y="3521890"/>
                  <a:pt x="7994320" y="3525708"/>
                </a:cubicBezTo>
                <a:cubicBezTo>
                  <a:pt x="8023154" y="3514253"/>
                  <a:pt x="8032765" y="3445527"/>
                  <a:pt x="8045581" y="3495163"/>
                </a:cubicBezTo>
                <a:cubicBezTo>
                  <a:pt x="8032766" y="3544798"/>
                  <a:pt x="8019950" y="3521890"/>
                  <a:pt x="8013542" y="3586798"/>
                </a:cubicBezTo>
                <a:cubicBezTo>
                  <a:pt x="7981505" y="3640252"/>
                  <a:pt x="7981505" y="3705160"/>
                  <a:pt x="7975097" y="3770068"/>
                </a:cubicBezTo>
                <a:lnTo>
                  <a:pt x="7975097" y="3738923"/>
                </a:lnTo>
                <a:lnTo>
                  <a:pt x="7975497" y="3737137"/>
                </a:lnTo>
                <a:cubicBezTo>
                  <a:pt x="7975898" y="3732841"/>
                  <a:pt x="7975097" y="3728069"/>
                  <a:pt x="7975097" y="3708978"/>
                </a:cubicBezTo>
                <a:lnTo>
                  <a:pt x="7975097" y="3738923"/>
                </a:lnTo>
                <a:lnTo>
                  <a:pt x="7973746" y="3744952"/>
                </a:lnTo>
                <a:cubicBezTo>
                  <a:pt x="7972694" y="3748591"/>
                  <a:pt x="7971092" y="3753841"/>
                  <a:pt x="7968689" y="3762432"/>
                </a:cubicBezTo>
                <a:cubicBezTo>
                  <a:pt x="7946263" y="3777705"/>
                  <a:pt x="7939855" y="3800613"/>
                  <a:pt x="7917429" y="3815886"/>
                </a:cubicBezTo>
                <a:cubicBezTo>
                  <a:pt x="7862964" y="3819703"/>
                  <a:pt x="7830926" y="3804431"/>
                  <a:pt x="7802092" y="3854067"/>
                </a:cubicBezTo>
                <a:cubicBezTo>
                  <a:pt x="7770054" y="3880794"/>
                  <a:pt x="7789277" y="3911339"/>
                  <a:pt x="7757239" y="3938066"/>
                </a:cubicBezTo>
                <a:cubicBezTo>
                  <a:pt x="7670736" y="3945702"/>
                  <a:pt x="7619475" y="3938066"/>
                  <a:pt x="7635494" y="4067882"/>
                </a:cubicBezTo>
                <a:cubicBezTo>
                  <a:pt x="7638698" y="4086973"/>
                  <a:pt x="7657920" y="4090791"/>
                  <a:pt x="7667532" y="4106064"/>
                </a:cubicBezTo>
                <a:cubicBezTo>
                  <a:pt x="7693162" y="4117518"/>
                  <a:pt x="7718793" y="4144244"/>
                  <a:pt x="7738016" y="4167153"/>
                </a:cubicBezTo>
                <a:cubicBezTo>
                  <a:pt x="7766850" y="4178608"/>
                  <a:pt x="7770054" y="4193881"/>
                  <a:pt x="7776462" y="4228243"/>
                </a:cubicBezTo>
                <a:cubicBezTo>
                  <a:pt x="7776462" y="4228243"/>
                  <a:pt x="7680347" y="4228243"/>
                  <a:pt x="7699570" y="4251152"/>
                </a:cubicBezTo>
                <a:cubicBezTo>
                  <a:pt x="7715589" y="4270242"/>
                  <a:pt x="7747627" y="4254971"/>
                  <a:pt x="7770054" y="4258788"/>
                </a:cubicBezTo>
                <a:cubicBezTo>
                  <a:pt x="7805295" y="4243516"/>
                  <a:pt x="7782869" y="4254970"/>
                  <a:pt x="7827722" y="4220607"/>
                </a:cubicBezTo>
                <a:cubicBezTo>
                  <a:pt x="7882187" y="4232061"/>
                  <a:pt x="7853352" y="4232062"/>
                  <a:pt x="7917429" y="4212970"/>
                </a:cubicBezTo>
                <a:cubicBezTo>
                  <a:pt x="7917429" y="4212970"/>
                  <a:pt x="7930244" y="4243515"/>
                  <a:pt x="7930244" y="4258788"/>
                </a:cubicBezTo>
                <a:cubicBezTo>
                  <a:pt x="7930244" y="4274060"/>
                  <a:pt x="7917429" y="4296970"/>
                  <a:pt x="7911021" y="4304605"/>
                </a:cubicBezTo>
                <a:cubicBezTo>
                  <a:pt x="7885391" y="4312242"/>
                  <a:pt x="7859760" y="4316060"/>
                  <a:pt x="7834130" y="4327514"/>
                </a:cubicBezTo>
                <a:cubicBezTo>
                  <a:pt x="7789276" y="4331333"/>
                  <a:pt x="7734812" y="4312242"/>
                  <a:pt x="7718793" y="4365696"/>
                </a:cubicBezTo>
                <a:cubicBezTo>
                  <a:pt x="7718793" y="4365696"/>
                  <a:pt x="7744423" y="4373332"/>
                  <a:pt x="7757239" y="4380968"/>
                </a:cubicBezTo>
                <a:cubicBezTo>
                  <a:pt x="7789277" y="4400059"/>
                  <a:pt x="7821315" y="4438240"/>
                  <a:pt x="7834130" y="4480240"/>
                </a:cubicBezTo>
                <a:cubicBezTo>
                  <a:pt x="7705978" y="4491694"/>
                  <a:pt x="7750831" y="4468786"/>
                  <a:pt x="7782869" y="4526057"/>
                </a:cubicBezTo>
                <a:cubicBezTo>
                  <a:pt x="7808499" y="4545148"/>
                  <a:pt x="7830926" y="4579511"/>
                  <a:pt x="7846945" y="4610056"/>
                </a:cubicBezTo>
                <a:cubicBezTo>
                  <a:pt x="7875779" y="4632965"/>
                  <a:pt x="7895002" y="4648237"/>
                  <a:pt x="7917429" y="4610056"/>
                </a:cubicBezTo>
                <a:cubicBezTo>
                  <a:pt x="7987912" y="4602420"/>
                  <a:pt x="8035969" y="4571875"/>
                  <a:pt x="8103249" y="4564239"/>
                </a:cubicBezTo>
                <a:cubicBezTo>
                  <a:pt x="8157714" y="4587147"/>
                  <a:pt x="8208975" y="4617692"/>
                  <a:pt x="8257032" y="4655873"/>
                </a:cubicBezTo>
                <a:cubicBezTo>
                  <a:pt x="8269847" y="4667328"/>
                  <a:pt x="8289070" y="4671146"/>
                  <a:pt x="8295477" y="4686418"/>
                </a:cubicBezTo>
                <a:cubicBezTo>
                  <a:pt x="8305088" y="4713146"/>
                  <a:pt x="8298681" y="4743691"/>
                  <a:pt x="8301885" y="4770417"/>
                </a:cubicBezTo>
                <a:cubicBezTo>
                  <a:pt x="8301885" y="4770417"/>
                  <a:pt x="8308293" y="4800962"/>
                  <a:pt x="8314700" y="4816235"/>
                </a:cubicBezTo>
                <a:cubicBezTo>
                  <a:pt x="8330719" y="4854416"/>
                  <a:pt x="8346738" y="4892597"/>
                  <a:pt x="8365961" y="4930778"/>
                </a:cubicBezTo>
                <a:cubicBezTo>
                  <a:pt x="8410814" y="5030050"/>
                  <a:pt x="8397999" y="5167503"/>
                  <a:pt x="8385184" y="5274410"/>
                </a:cubicBezTo>
                <a:cubicBezTo>
                  <a:pt x="8385184" y="5274410"/>
                  <a:pt x="8397999" y="5324046"/>
                  <a:pt x="8410814" y="5343137"/>
                </a:cubicBezTo>
                <a:cubicBezTo>
                  <a:pt x="8442852" y="5400408"/>
                  <a:pt x="8442852" y="5404226"/>
                  <a:pt x="8449260" y="5472952"/>
                </a:cubicBezTo>
                <a:cubicBezTo>
                  <a:pt x="8462075" y="5518771"/>
                  <a:pt x="8487706" y="5541679"/>
                  <a:pt x="8519743" y="5534043"/>
                </a:cubicBezTo>
                <a:cubicBezTo>
                  <a:pt x="8554985" y="5564587"/>
                  <a:pt x="8587023" y="5560770"/>
                  <a:pt x="8609450" y="5602769"/>
                </a:cubicBezTo>
                <a:cubicBezTo>
                  <a:pt x="8631876" y="5621859"/>
                  <a:pt x="8644692" y="5652404"/>
                  <a:pt x="8654303" y="5686768"/>
                </a:cubicBezTo>
                <a:cubicBezTo>
                  <a:pt x="8612653" y="5652404"/>
                  <a:pt x="8593431" y="5660040"/>
                  <a:pt x="8532559" y="5656222"/>
                </a:cubicBezTo>
                <a:cubicBezTo>
                  <a:pt x="8471686" y="5679131"/>
                  <a:pt x="8494113" y="5782221"/>
                  <a:pt x="8513336" y="5847129"/>
                </a:cubicBezTo>
                <a:cubicBezTo>
                  <a:pt x="8567800" y="5912037"/>
                  <a:pt x="8558189" y="5931128"/>
                  <a:pt x="8551781" y="6038035"/>
                </a:cubicBezTo>
                <a:cubicBezTo>
                  <a:pt x="8519744" y="6148761"/>
                  <a:pt x="8535762" y="6263305"/>
                  <a:pt x="8532559" y="6381667"/>
                </a:cubicBezTo>
                <a:cubicBezTo>
                  <a:pt x="8532559" y="6381667"/>
                  <a:pt x="8551781" y="6427484"/>
                  <a:pt x="8558189" y="6450393"/>
                </a:cubicBezTo>
                <a:cubicBezTo>
                  <a:pt x="8574208" y="6503847"/>
                  <a:pt x="8619061" y="6522938"/>
                  <a:pt x="8622265" y="6580209"/>
                </a:cubicBezTo>
                <a:cubicBezTo>
                  <a:pt x="8635080" y="6629845"/>
                  <a:pt x="8628673" y="6683298"/>
                  <a:pt x="8641488" y="6732935"/>
                </a:cubicBezTo>
                <a:cubicBezTo>
                  <a:pt x="8673526" y="6759661"/>
                  <a:pt x="8676730" y="6801661"/>
                  <a:pt x="8692749" y="6839842"/>
                </a:cubicBezTo>
                <a:cubicBezTo>
                  <a:pt x="8708768" y="6881841"/>
                  <a:pt x="8724787" y="6939113"/>
                  <a:pt x="8744010" y="6977294"/>
                </a:cubicBezTo>
                <a:cubicBezTo>
                  <a:pt x="8750417" y="6992567"/>
                  <a:pt x="8766436" y="7000203"/>
                  <a:pt x="8776047" y="7015475"/>
                </a:cubicBezTo>
                <a:cubicBezTo>
                  <a:pt x="8776047" y="7015475"/>
                  <a:pt x="8801678" y="7038384"/>
                  <a:pt x="8814493" y="7046021"/>
                </a:cubicBezTo>
                <a:cubicBezTo>
                  <a:pt x="8849735" y="7068930"/>
                  <a:pt x="8881773" y="7088020"/>
                  <a:pt x="8910607" y="7122383"/>
                </a:cubicBezTo>
                <a:cubicBezTo>
                  <a:pt x="8952257" y="7137656"/>
                  <a:pt x="8997110" y="7141474"/>
                  <a:pt x="9038759" y="7145292"/>
                </a:cubicBezTo>
                <a:cubicBezTo>
                  <a:pt x="9077205" y="7080384"/>
                  <a:pt x="9086816" y="6984931"/>
                  <a:pt x="9090020" y="6908568"/>
                </a:cubicBezTo>
                <a:cubicBezTo>
                  <a:pt x="9090020" y="6908568"/>
                  <a:pt x="9096427" y="6878023"/>
                  <a:pt x="9102835" y="6862751"/>
                </a:cubicBezTo>
                <a:cubicBezTo>
                  <a:pt x="9109243" y="6847478"/>
                  <a:pt x="9093224" y="6832206"/>
                  <a:pt x="9102835" y="6816933"/>
                </a:cubicBezTo>
                <a:cubicBezTo>
                  <a:pt x="9176523" y="6759661"/>
                  <a:pt x="9192542" y="6606936"/>
                  <a:pt x="9198949" y="6519119"/>
                </a:cubicBezTo>
                <a:cubicBezTo>
                  <a:pt x="9198949" y="6519119"/>
                  <a:pt x="9247006" y="6503847"/>
                  <a:pt x="9269433" y="6496211"/>
                </a:cubicBezTo>
                <a:cubicBezTo>
                  <a:pt x="9314286" y="6477120"/>
                  <a:pt x="9343121" y="6442756"/>
                  <a:pt x="9384770" y="6419848"/>
                </a:cubicBezTo>
                <a:cubicBezTo>
                  <a:pt x="9413604" y="6400757"/>
                  <a:pt x="9445642" y="6358758"/>
                  <a:pt x="9461661" y="6328213"/>
                </a:cubicBezTo>
                <a:cubicBezTo>
                  <a:pt x="9484088" y="6286214"/>
                  <a:pt x="9544960" y="6144942"/>
                  <a:pt x="9551368" y="6099125"/>
                </a:cubicBezTo>
                <a:cubicBezTo>
                  <a:pt x="9580202" y="6064762"/>
                  <a:pt x="9560979" y="6080035"/>
                  <a:pt x="9609036" y="6060944"/>
                </a:cubicBezTo>
                <a:cubicBezTo>
                  <a:pt x="9628259" y="6060944"/>
                  <a:pt x="9830098" y="6053307"/>
                  <a:pt x="9846118" y="5992217"/>
                </a:cubicBezTo>
                <a:cubicBezTo>
                  <a:pt x="9855729" y="5961672"/>
                  <a:pt x="9900582" y="5954036"/>
                  <a:pt x="9910194" y="5923491"/>
                </a:cubicBezTo>
                <a:cubicBezTo>
                  <a:pt x="9945435" y="5896764"/>
                  <a:pt x="9958251" y="5858584"/>
                  <a:pt x="9987085" y="5824220"/>
                </a:cubicBezTo>
                <a:cubicBezTo>
                  <a:pt x="10006307" y="5801312"/>
                  <a:pt x="9999900" y="5782221"/>
                  <a:pt x="10025530" y="5763131"/>
                </a:cubicBezTo>
                <a:cubicBezTo>
                  <a:pt x="9868544" y="5724949"/>
                  <a:pt x="9887767" y="5820402"/>
                  <a:pt x="9878155" y="5572224"/>
                </a:cubicBezTo>
                <a:cubicBezTo>
                  <a:pt x="9910193" y="5583678"/>
                  <a:pt x="9926213" y="5602769"/>
                  <a:pt x="9935824" y="5640950"/>
                </a:cubicBezTo>
                <a:cubicBezTo>
                  <a:pt x="9955047" y="5656223"/>
                  <a:pt x="9974270" y="5679132"/>
                  <a:pt x="9993492" y="5694404"/>
                </a:cubicBezTo>
                <a:cubicBezTo>
                  <a:pt x="10067180" y="5705858"/>
                  <a:pt x="10060772" y="5705858"/>
                  <a:pt x="10070383" y="5625678"/>
                </a:cubicBezTo>
                <a:cubicBezTo>
                  <a:pt x="10070383" y="5625678"/>
                  <a:pt x="10063976" y="5595133"/>
                  <a:pt x="10057568" y="5579860"/>
                </a:cubicBezTo>
                <a:cubicBezTo>
                  <a:pt x="10031938" y="5534042"/>
                  <a:pt x="10031938" y="5484407"/>
                  <a:pt x="10019123" y="5434772"/>
                </a:cubicBezTo>
                <a:cubicBezTo>
                  <a:pt x="10063976" y="5453862"/>
                  <a:pt x="10047957" y="5476771"/>
                  <a:pt x="10057568" y="5411862"/>
                </a:cubicBezTo>
                <a:cubicBezTo>
                  <a:pt x="10057568" y="5411862"/>
                  <a:pt x="10060772" y="5377500"/>
                  <a:pt x="10063976" y="5343136"/>
                </a:cubicBezTo>
                <a:cubicBezTo>
                  <a:pt x="10051161" y="5301136"/>
                  <a:pt x="10086402" y="5304955"/>
                  <a:pt x="10057568" y="5251501"/>
                </a:cubicBezTo>
                <a:cubicBezTo>
                  <a:pt x="10031938" y="5232411"/>
                  <a:pt x="9971066" y="5156048"/>
                  <a:pt x="9961454" y="5121685"/>
                </a:cubicBezTo>
                <a:cubicBezTo>
                  <a:pt x="10019123" y="5117867"/>
                  <a:pt x="10124848" y="5171320"/>
                  <a:pt x="10147275" y="5091140"/>
                </a:cubicBezTo>
                <a:cubicBezTo>
                  <a:pt x="10092811" y="5079685"/>
                  <a:pt x="10067180" y="5060595"/>
                  <a:pt x="10083199" y="4999505"/>
                </a:cubicBezTo>
                <a:cubicBezTo>
                  <a:pt x="10147274" y="4988051"/>
                  <a:pt x="10137663" y="5010959"/>
                  <a:pt x="10166498" y="4946051"/>
                </a:cubicBezTo>
                <a:cubicBezTo>
                  <a:pt x="10204943" y="4862052"/>
                  <a:pt x="10169702" y="4976596"/>
                  <a:pt x="10192128" y="4900233"/>
                </a:cubicBezTo>
                <a:cubicBezTo>
                  <a:pt x="10096014" y="4881143"/>
                  <a:pt x="10086403" y="4816235"/>
                  <a:pt x="10057568" y="4709327"/>
                </a:cubicBezTo>
                <a:cubicBezTo>
                  <a:pt x="10070384" y="4667328"/>
                  <a:pt x="10067180" y="4732236"/>
                  <a:pt x="10096014" y="4785690"/>
                </a:cubicBezTo>
                <a:cubicBezTo>
                  <a:pt x="10188924" y="4858234"/>
                  <a:pt x="10166497" y="4774236"/>
                  <a:pt x="10172905" y="4663510"/>
                </a:cubicBezTo>
                <a:cubicBezTo>
                  <a:pt x="10172905" y="4663510"/>
                  <a:pt x="10163294" y="4632965"/>
                  <a:pt x="10160090" y="4617693"/>
                </a:cubicBezTo>
                <a:cubicBezTo>
                  <a:pt x="10147275" y="4571875"/>
                  <a:pt x="10160090" y="4602420"/>
                  <a:pt x="10140867" y="4564238"/>
                </a:cubicBezTo>
                <a:cubicBezTo>
                  <a:pt x="10102422" y="4548966"/>
                  <a:pt x="10067180" y="4514603"/>
                  <a:pt x="10044753" y="4472603"/>
                </a:cubicBezTo>
                <a:cubicBezTo>
                  <a:pt x="10015919" y="4449695"/>
                  <a:pt x="10047957" y="4442058"/>
                  <a:pt x="10057568" y="4403877"/>
                </a:cubicBezTo>
                <a:cubicBezTo>
                  <a:pt x="10185720" y="4396241"/>
                  <a:pt x="10204944" y="4442058"/>
                  <a:pt x="10217759" y="4319878"/>
                </a:cubicBezTo>
                <a:cubicBezTo>
                  <a:pt x="10108829" y="4293151"/>
                  <a:pt x="10031938" y="4228243"/>
                  <a:pt x="10076791" y="4067882"/>
                </a:cubicBezTo>
                <a:cubicBezTo>
                  <a:pt x="10121644" y="4048791"/>
                  <a:pt x="10073587" y="3934247"/>
                  <a:pt x="10096014" y="3892248"/>
                </a:cubicBezTo>
                <a:cubicBezTo>
                  <a:pt x="10121644" y="3873158"/>
                  <a:pt x="10153682" y="3926611"/>
                  <a:pt x="10179313" y="3907521"/>
                </a:cubicBezTo>
                <a:cubicBezTo>
                  <a:pt x="10160090" y="3869339"/>
                  <a:pt x="10179313" y="3770068"/>
                  <a:pt x="10172905" y="3724251"/>
                </a:cubicBezTo>
                <a:cubicBezTo>
                  <a:pt x="10179313" y="3659343"/>
                  <a:pt x="10150478" y="3640252"/>
                  <a:pt x="10166497" y="3579162"/>
                </a:cubicBezTo>
                <a:cubicBezTo>
                  <a:pt x="10169702" y="3571525"/>
                  <a:pt x="10179313" y="3590616"/>
                  <a:pt x="10185721" y="3594434"/>
                </a:cubicBezTo>
                <a:cubicBezTo>
                  <a:pt x="10204943" y="3598252"/>
                  <a:pt x="10224166" y="3598252"/>
                  <a:pt x="10243389" y="3602071"/>
                </a:cubicBezTo>
                <a:cubicBezTo>
                  <a:pt x="10259408" y="3590616"/>
                  <a:pt x="10288242" y="3533344"/>
                  <a:pt x="10275427" y="3518072"/>
                </a:cubicBezTo>
                <a:cubicBezTo>
                  <a:pt x="10262612" y="3502799"/>
                  <a:pt x="10172905" y="3521890"/>
                  <a:pt x="10160090" y="3502800"/>
                </a:cubicBezTo>
                <a:cubicBezTo>
                  <a:pt x="10131256" y="3479890"/>
                  <a:pt x="10140867" y="3468436"/>
                  <a:pt x="10166497" y="3449345"/>
                </a:cubicBezTo>
                <a:cubicBezTo>
                  <a:pt x="10214555" y="3445527"/>
                  <a:pt x="10291446" y="3487527"/>
                  <a:pt x="10307465" y="3434073"/>
                </a:cubicBezTo>
                <a:cubicBezTo>
                  <a:pt x="10312271" y="3416891"/>
                  <a:pt x="10324285" y="3356756"/>
                  <a:pt x="10327289" y="3327762"/>
                </a:cubicBezTo>
                <a:lnTo>
                  <a:pt x="10327353" y="3326667"/>
                </a:lnTo>
                <a:lnTo>
                  <a:pt x="10354176" y="3322744"/>
                </a:lnTo>
                <a:cubicBezTo>
                  <a:pt x="10384607" y="3312609"/>
                  <a:pt x="10405181" y="3284689"/>
                  <a:pt x="10409986" y="3220258"/>
                </a:cubicBezTo>
                <a:cubicBezTo>
                  <a:pt x="10477266" y="3208803"/>
                  <a:pt x="10435617" y="3166804"/>
                  <a:pt x="10461247" y="3098078"/>
                </a:cubicBezTo>
                <a:cubicBezTo>
                  <a:pt x="10474063" y="3059897"/>
                  <a:pt x="10506100" y="3040806"/>
                  <a:pt x="10531731" y="3021715"/>
                </a:cubicBezTo>
                <a:cubicBezTo>
                  <a:pt x="10509305" y="2983534"/>
                  <a:pt x="10518916" y="2941535"/>
                  <a:pt x="10506101" y="2899535"/>
                </a:cubicBezTo>
                <a:cubicBezTo>
                  <a:pt x="10506101" y="2899535"/>
                  <a:pt x="10480470" y="2891899"/>
                  <a:pt x="10467655" y="2884263"/>
                </a:cubicBezTo>
                <a:cubicBezTo>
                  <a:pt x="10409986" y="2838446"/>
                  <a:pt x="10445228" y="2853718"/>
                  <a:pt x="10365133" y="2846082"/>
                </a:cubicBezTo>
                <a:cubicBezTo>
                  <a:pt x="10326688" y="2861354"/>
                  <a:pt x="10313872" y="2899535"/>
                  <a:pt x="10275426" y="2914808"/>
                </a:cubicBezTo>
                <a:cubicBezTo>
                  <a:pt x="10267417" y="2910989"/>
                  <a:pt x="10250597" y="2903353"/>
                  <a:pt x="10234578" y="2895717"/>
                </a:cubicBezTo>
                <a:lnTo>
                  <a:pt x="10227999" y="2892468"/>
                </a:lnTo>
                <a:lnTo>
                  <a:pt x="10227520" y="2884561"/>
                </a:lnTo>
                <a:cubicBezTo>
                  <a:pt x="10226168" y="2879013"/>
                  <a:pt x="10223366" y="2873762"/>
                  <a:pt x="10217759" y="2868990"/>
                </a:cubicBezTo>
                <a:cubicBezTo>
                  <a:pt x="10208147" y="2849899"/>
                  <a:pt x="10194531" y="2833672"/>
                  <a:pt x="10184519" y="2816968"/>
                </a:cubicBezTo>
                <a:lnTo>
                  <a:pt x="10183873" y="2815500"/>
                </a:lnTo>
                <a:lnTo>
                  <a:pt x="10181866" y="2790182"/>
                </a:lnTo>
                <a:cubicBezTo>
                  <a:pt x="10180314" y="2779503"/>
                  <a:pt x="10177711" y="2769719"/>
                  <a:pt x="10172905" y="2762083"/>
                </a:cubicBezTo>
                <a:cubicBezTo>
                  <a:pt x="10170502" y="2772582"/>
                  <a:pt x="10170903" y="2782128"/>
                  <a:pt x="10173155" y="2791136"/>
                </a:cubicBezTo>
                <a:lnTo>
                  <a:pt x="10183873" y="2815500"/>
                </a:lnTo>
                <a:lnTo>
                  <a:pt x="10184519" y="2823650"/>
                </a:lnTo>
                <a:cubicBezTo>
                  <a:pt x="10185720" y="2846082"/>
                  <a:pt x="10187322" y="2867081"/>
                  <a:pt x="10198535" y="2876627"/>
                </a:cubicBezTo>
                <a:cubicBezTo>
                  <a:pt x="10200938" y="2878536"/>
                  <a:pt x="10205944" y="2881399"/>
                  <a:pt x="10212352" y="2884740"/>
                </a:cubicBezTo>
                <a:lnTo>
                  <a:pt x="10227999" y="2892468"/>
                </a:lnTo>
                <a:lnTo>
                  <a:pt x="10228571" y="2901921"/>
                </a:lnTo>
                <a:cubicBezTo>
                  <a:pt x="10228171" y="2913854"/>
                  <a:pt x="10227370" y="2926262"/>
                  <a:pt x="10236981" y="2937717"/>
                </a:cubicBezTo>
                <a:cubicBezTo>
                  <a:pt x="10243389" y="2941535"/>
                  <a:pt x="10253000" y="2941535"/>
                  <a:pt x="10256204" y="2945353"/>
                </a:cubicBezTo>
                <a:cubicBezTo>
                  <a:pt x="10259408" y="2949171"/>
                  <a:pt x="10256204" y="2964443"/>
                  <a:pt x="10262612" y="2968261"/>
                </a:cubicBezTo>
                <a:cubicBezTo>
                  <a:pt x="10269019" y="2975898"/>
                  <a:pt x="10281835" y="2998806"/>
                  <a:pt x="10275427" y="3006443"/>
                </a:cubicBezTo>
                <a:cubicBezTo>
                  <a:pt x="10265816" y="3017897"/>
                  <a:pt x="10262612" y="2979716"/>
                  <a:pt x="10249796" y="2983534"/>
                </a:cubicBezTo>
                <a:cubicBezTo>
                  <a:pt x="10208147" y="2952989"/>
                  <a:pt x="10230573" y="3048442"/>
                  <a:pt x="10198536" y="2991170"/>
                </a:cubicBezTo>
                <a:cubicBezTo>
                  <a:pt x="10198536" y="2991170"/>
                  <a:pt x="10160090" y="2926262"/>
                  <a:pt x="10147275" y="2930081"/>
                </a:cubicBezTo>
                <a:cubicBezTo>
                  <a:pt x="10134459" y="2933898"/>
                  <a:pt x="10140867" y="2960626"/>
                  <a:pt x="10134459" y="2975898"/>
                </a:cubicBezTo>
                <a:cubicBezTo>
                  <a:pt x="10121644" y="3014079"/>
                  <a:pt x="10108829" y="3048442"/>
                  <a:pt x="10096014" y="3090442"/>
                </a:cubicBezTo>
                <a:cubicBezTo>
                  <a:pt x="10096014" y="3090442"/>
                  <a:pt x="10067180" y="3105714"/>
                  <a:pt x="10057568" y="3120987"/>
                </a:cubicBezTo>
                <a:cubicBezTo>
                  <a:pt x="10031938" y="3166804"/>
                  <a:pt x="10022326" y="3204985"/>
                  <a:pt x="10006307" y="3258439"/>
                </a:cubicBezTo>
                <a:cubicBezTo>
                  <a:pt x="10015919" y="3292802"/>
                  <a:pt x="10003103" y="3300439"/>
                  <a:pt x="9980677" y="3327166"/>
                </a:cubicBezTo>
                <a:cubicBezTo>
                  <a:pt x="9939027" y="3338620"/>
                  <a:pt x="9945435" y="3311893"/>
                  <a:pt x="9955047" y="3273711"/>
                </a:cubicBezTo>
                <a:cubicBezTo>
                  <a:pt x="9996696" y="3239349"/>
                  <a:pt x="9974269" y="3185895"/>
                  <a:pt x="9999900" y="3136260"/>
                </a:cubicBezTo>
                <a:cubicBezTo>
                  <a:pt x="9999900" y="3136260"/>
                  <a:pt x="10067180" y="3098077"/>
                  <a:pt x="10070384" y="3059897"/>
                </a:cubicBezTo>
                <a:cubicBezTo>
                  <a:pt x="10076791" y="3006442"/>
                  <a:pt x="10131256" y="2811718"/>
                  <a:pt x="10044753" y="2777355"/>
                </a:cubicBezTo>
                <a:cubicBezTo>
                  <a:pt x="10044753" y="2777355"/>
                  <a:pt x="10015919" y="2792628"/>
                  <a:pt x="10006308" y="2807901"/>
                </a:cubicBezTo>
                <a:cubicBezTo>
                  <a:pt x="9983881" y="2834627"/>
                  <a:pt x="9987085" y="2891899"/>
                  <a:pt x="9955047" y="2930080"/>
                </a:cubicBezTo>
                <a:cubicBezTo>
                  <a:pt x="9932620" y="2933898"/>
                  <a:pt x="9910193" y="2922444"/>
                  <a:pt x="9890970" y="2937717"/>
                </a:cubicBezTo>
                <a:cubicBezTo>
                  <a:pt x="9881359" y="2945353"/>
                  <a:pt x="9833302" y="2983534"/>
                  <a:pt x="9833302" y="2983534"/>
                </a:cubicBezTo>
                <a:cubicBezTo>
                  <a:pt x="9817283" y="2983534"/>
                  <a:pt x="9830098" y="2945353"/>
                  <a:pt x="9839710" y="2930081"/>
                </a:cubicBezTo>
                <a:cubicBezTo>
                  <a:pt x="9887767" y="2891900"/>
                  <a:pt x="9932620" y="2907172"/>
                  <a:pt x="9903786" y="2800264"/>
                </a:cubicBezTo>
                <a:cubicBezTo>
                  <a:pt x="9842914" y="2796446"/>
                  <a:pt x="9820487" y="2762082"/>
                  <a:pt x="9762818" y="2784992"/>
                </a:cubicBezTo>
                <a:cubicBezTo>
                  <a:pt x="9685927" y="2792628"/>
                  <a:pt x="9625055" y="2826991"/>
                  <a:pt x="9570590" y="2891899"/>
                </a:cubicBezTo>
                <a:cubicBezTo>
                  <a:pt x="9544960" y="2903353"/>
                  <a:pt x="9535348" y="2930081"/>
                  <a:pt x="9525737" y="2891899"/>
                </a:cubicBezTo>
                <a:cubicBezTo>
                  <a:pt x="9576998" y="2876626"/>
                  <a:pt x="9551367" y="2823173"/>
                  <a:pt x="9576998" y="2777355"/>
                </a:cubicBezTo>
                <a:cubicBezTo>
                  <a:pt x="9576998" y="2777355"/>
                  <a:pt x="9615444" y="2765901"/>
                  <a:pt x="9634666" y="2754447"/>
                </a:cubicBezTo>
                <a:cubicBezTo>
                  <a:pt x="9641074" y="2750628"/>
                  <a:pt x="9647482" y="2742992"/>
                  <a:pt x="9653889" y="2739174"/>
                </a:cubicBezTo>
                <a:cubicBezTo>
                  <a:pt x="9666705" y="2731537"/>
                  <a:pt x="9679520" y="2727720"/>
                  <a:pt x="9692335" y="2723901"/>
                </a:cubicBezTo>
                <a:cubicBezTo>
                  <a:pt x="9814080" y="2716265"/>
                  <a:pt x="9801265" y="2716265"/>
                  <a:pt x="9884563" y="2731538"/>
                </a:cubicBezTo>
                <a:cubicBezTo>
                  <a:pt x="9884563" y="2731538"/>
                  <a:pt x="9906990" y="2708628"/>
                  <a:pt x="9923008" y="2700992"/>
                </a:cubicBezTo>
                <a:cubicBezTo>
                  <a:pt x="9935824" y="2697174"/>
                  <a:pt x="9948639" y="2689538"/>
                  <a:pt x="9961454" y="2685720"/>
                </a:cubicBezTo>
                <a:cubicBezTo>
                  <a:pt x="10063976" y="2670448"/>
                  <a:pt x="9980677" y="2681902"/>
                  <a:pt x="10025530" y="2616994"/>
                </a:cubicBezTo>
                <a:cubicBezTo>
                  <a:pt x="10031938" y="2609358"/>
                  <a:pt x="10047957" y="2620812"/>
                  <a:pt x="10051161" y="2609358"/>
                </a:cubicBezTo>
                <a:cubicBezTo>
                  <a:pt x="10060772" y="2571176"/>
                  <a:pt x="10054364" y="2532995"/>
                  <a:pt x="10057569" y="2494814"/>
                </a:cubicBezTo>
                <a:cubicBezTo>
                  <a:pt x="10035142" y="2479541"/>
                  <a:pt x="10019123" y="2460450"/>
                  <a:pt x="9993492" y="2448996"/>
                </a:cubicBezTo>
                <a:cubicBezTo>
                  <a:pt x="9945435" y="2487178"/>
                  <a:pt x="10003104" y="2452815"/>
                  <a:pt x="9967862" y="2426087"/>
                </a:cubicBezTo>
                <a:cubicBezTo>
                  <a:pt x="9955047" y="2414633"/>
                  <a:pt x="9932620" y="2422269"/>
                  <a:pt x="9916601" y="2418451"/>
                </a:cubicBezTo>
                <a:cubicBezTo>
                  <a:pt x="9903786" y="2422269"/>
                  <a:pt x="9884563" y="2456633"/>
                  <a:pt x="9878155" y="2441360"/>
                </a:cubicBezTo>
                <a:cubicBezTo>
                  <a:pt x="9871748" y="2429905"/>
                  <a:pt x="9884563" y="2414633"/>
                  <a:pt x="9884563" y="2403179"/>
                </a:cubicBezTo>
                <a:cubicBezTo>
                  <a:pt x="9887766" y="2376452"/>
                  <a:pt x="9887767" y="2345907"/>
                  <a:pt x="9890970" y="2319180"/>
                </a:cubicBezTo>
                <a:cubicBezTo>
                  <a:pt x="9830098" y="2311544"/>
                  <a:pt x="9826895" y="2315361"/>
                  <a:pt x="9775634" y="2326816"/>
                </a:cubicBezTo>
                <a:cubicBezTo>
                  <a:pt x="9775634" y="2326816"/>
                  <a:pt x="9628259" y="2315362"/>
                  <a:pt x="9609036" y="2380270"/>
                </a:cubicBezTo>
                <a:cubicBezTo>
                  <a:pt x="9480884" y="2395543"/>
                  <a:pt x="9528941" y="2380270"/>
                  <a:pt x="9493699" y="2510086"/>
                </a:cubicBezTo>
                <a:cubicBezTo>
                  <a:pt x="9432026" y="2459973"/>
                  <a:pt x="9507716" y="2418630"/>
                  <a:pt x="9454627" y="2396288"/>
                </a:cubicBezTo>
                <a:lnTo>
                  <a:pt x="9425556" y="2388531"/>
                </a:lnTo>
                <a:lnTo>
                  <a:pt x="9436031" y="2372634"/>
                </a:lnTo>
                <a:cubicBezTo>
                  <a:pt x="9493699" y="2349725"/>
                  <a:pt x="9541757" y="2303907"/>
                  <a:pt x="9602628" y="2288635"/>
                </a:cubicBezTo>
                <a:cubicBezTo>
                  <a:pt x="9641074" y="2284817"/>
                  <a:pt x="9717965" y="2292453"/>
                  <a:pt x="9769226" y="2273363"/>
                </a:cubicBezTo>
                <a:cubicBezTo>
                  <a:pt x="9788449" y="2265726"/>
                  <a:pt x="9865340" y="2242817"/>
                  <a:pt x="9852525" y="2204636"/>
                </a:cubicBezTo>
                <a:cubicBezTo>
                  <a:pt x="9849321" y="2197001"/>
                  <a:pt x="9843714" y="2191273"/>
                  <a:pt x="9837707" y="2185546"/>
                </a:cubicBezTo>
                <a:lnTo>
                  <a:pt x="9829829" y="2176812"/>
                </a:lnTo>
                <a:lnTo>
                  <a:pt x="11460104" y="2950064"/>
                </a:lnTo>
                <a:lnTo>
                  <a:pt x="6219724" y="13998542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A95359-B7BB-44FC-96BE-1838F5210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45072"/>
            <a:ext cx="108204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C124A9-43FF-4F76-8266-7F82614DA7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691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433514"/>
            <a:ext cx="10820400" cy="492443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602136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6" progId="TCLayout.ActiveDocument.1">
                  <p:embed/>
                </p:oleObj>
              </mc:Choice>
              <mc:Fallback>
                <p:oleObj name="think-cell Slide" r:id="rId3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5754B4F0-EC57-4BB1-9AF0-F786565CDD7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3176"/>
            <a:ext cx="12192000" cy="32734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7700" y="445072"/>
            <a:ext cx="108204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C47281A9-8217-4F5F-AF51-F2C20EE2A42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5469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4639333" y="-21085"/>
            <a:ext cx="7552668" cy="6879085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  <a:gd name="connsiteX0" fmla="*/ 2971144 w 8548017"/>
              <a:gd name="connsiteY0" fmla="*/ 0 h 6858000"/>
              <a:gd name="connsiteX1" fmla="*/ 7752484 w 8548017"/>
              <a:gd name="connsiteY1" fmla="*/ 0 h 6858000"/>
              <a:gd name="connsiteX2" fmla="*/ 7863964 w 8548017"/>
              <a:gd name="connsiteY2" fmla="*/ 173070 h 6858000"/>
              <a:gd name="connsiteX3" fmla="*/ 8548017 w 8548017"/>
              <a:gd name="connsiteY3" fmla="*/ 1036643 h 6858000"/>
              <a:gd name="connsiteX4" fmla="*/ 8527206 w 8548017"/>
              <a:gd name="connsiteY4" fmla="*/ 1631659 h 6858000"/>
              <a:gd name="connsiteX5" fmla="*/ 8527206 w 8548017"/>
              <a:gd name="connsiteY5" fmla="*/ 6858000 h 6858000"/>
              <a:gd name="connsiteX6" fmla="*/ 1968306 w 8548017"/>
              <a:gd name="connsiteY6" fmla="*/ 6858000 h 6858000"/>
              <a:gd name="connsiteX7" fmla="*/ 1963205 w 8548017"/>
              <a:gd name="connsiteY7" fmla="*/ 6855630 h 6858000"/>
              <a:gd name="connsiteX8" fmla="*/ 1098144 w 8548017"/>
              <a:gd name="connsiteY8" fmla="*/ 6340068 h 6858000"/>
              <a:gd name="connsiteX9" fmla="*/ 430707 w 8548017"/>
              <a:gd name="connsiteY9" fmla="*/ 5690993 h 6858000"/>
              <a:gd name="connsiteX10" fmla="*/ 561 w 8548017"/>
              <a:gd name="connsiteY10" fmla="*/ 4468699 h 6858000"/>
              <a:gd name="connsiteX11" fmla="*/ 47377 w 8548017"/>
              <a:gd name="connsiteY11" fmla="*/ 3944319 h 6858000"/>
              <a:gd name="connsiteX12" fmla="*/ 62248 w 8548017"/>
              <a:gd name="connsiteY12" fmla="*/ 3832572 h 6858000"/>
              <a:gd name="connsiteX13" fmla="*/ 108969 w 8548017"/>
              <a:gd name="connsiteY13" fmla="*/ 3658898 h 6858000"/>
              <a:gd name="connsiteX14" fmla="*/ 139210 w 8548017"/>
              <a:gd name="connsiteY14" fmla="*/ 3591318 h 6858000"/>
              <a:gd name="connsiteX15" fmla="*/ 486668 w 8548017"/>
              <a:gd name="connsiteY15" fmla="*/ 2814496 h 6858000"/>
              <a:gd name="connsiteX16" fmla="*/ 1140836 w 8548017"/>
              <a:gd name="connsiteY16" fmla="*/ 1857357 h 6858000"/>
              <a:gd name="connsiteX17" fmla="*/ 2283959 w 8548017"/>
              <a:gd name="connsiteY17" fmla="*/ 615316 h 6858000"/>
              <a:gd name="connsiteX18" fmla="*/ 2889393 w 8548017"/>
              <a:gd name="connsiteY18" fmla="*/ 66398 h 6858000"/>
              <a:gd name="connsiteX19" fmla="*/ 2971144 w 8548017"/>
              <a:gd name="connsiteY19" fmla="*/ 0 h 6858000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548017"/>
              <a:gd name="connsiteY0" fmla="*/ 73672 h 6931672"/>
              <a:gd name="connsiteX1" fmla="*/ 7752484 w 8548017"/>
              <a:gd name="connsiteY1" fmla="*/ 73672 h 6931672"/>
              <a:gd name="connsiteX2" fmla="*/ 8453900 w 8548017"/>
              <a:gd name="connsiteY2" fmla="*/ 0 h 6931672"/>
              <a:gd name="connsiteX3" fmla="*/ 8548017 w 8548017"/>
              <a:gd name="connsiteY3" fmla="*/ 1110315 h 6931672"/>
              <a:gd name="connsiteX4" fmla="*/ 8527206 w 8548017"/>
              <a:gd name="connsiteY4" fmla="*/ 1705331 h 6931672"/>
              <a:gd name="connsiteX5" fmla="*/ 8527206 w 8548017"/>
              <a:gd name="connsiteY5" fmla="*/ 6931672 h 6931672"/>
              <a:gd name="connsiteX6" fmla="*/ 1968306 w 8548017"/>
              <a:gd name="connsiteY6" fmla="*/ 6931672 h 6931672"/>
              <a:gd name="connsiteX7" fmla="*/ 1963205 w 8548017"/>
              <a:gd name="connsiteY7" fmla="*/ 6929302 h 6931672"/>
              <a:gd name="connsiteX8" fmla="*/ 1098144 w 8548017"/>
              <a:gd name="connsiteY8" fmla="*/ 6413740 h 6931672"/>
              <a:gd name="connsiteX9" fmla="*/ 430707 w 8548017"/>
              <a:gd name="connsiteY9" fmla="*/ 5764665 h 6931672"/>
              <a:gd name="connsiteX10" fmla="*/ 561 w 8548017"/>
              <a:gd name="connsiteY10" fmla="*/ 4542371 h 6931672"/>
              <a:gd name="connsiteX11" fmla="*/ 47377 w 8548017"/>
              <a:gd name="connsiteY11" fmla="*/ 4017991 h 6931672"/>
              <a:gd name="connsiteX12" fmla="*/ 62248 w 8548017"/>
              <a:gd name="connsiteY12" fmla="*/ 3906244 h 6931672"/>
              <a:gd name="connsiteX13" fmla="*/ 108969 w 8548017"/>
              <a:gd name="connsiteY13" fmla="*/ 3732570 h 6931672"/>
              <a:gd name="connsiteX14" fmla="*/ 139210 w 8548017"/>
              <a:gd name="connsiteY14" fmla="*/ 3664990 h 6931672"/>
              <a:gd name="connsiteX15" fmla="*/ 486668 w 8548017"/>
              <a:gd name="connsiteY15" fmla="*/ 2888168 h 6931672"/>
              <a:gd name="connsiteX16" fmla="*/ 1140836 w 8548017"/>
              <a:gd name="connsiteY16" fmla="*/ 1931029 h 6931672"/>
              <a:gd name="connsiteX17" fmla="*/ 2283959 w 8548017"/>
              <a:gd name="connsiteY17" fmla="*/ 688988 h 6931672"/>
              <a:gd name="connsiteX18" fmla="*/ 2889393 w 8548017"/>
              <a:gd name="connsiteY18" fmla="*/ 140070 h 6931672"/>
              <a:gd name="connsiteX19" fmla="*/ 2971144 w 8548017"/>
              <a:gd name="connsiteY19" fmla="*/ 73672 h 6931672"/>
              <a:gd name="connsiteX0" fmla="*/ 2971144 w 8601798"/>
              <a:gd name="connsiteY0" fmla="*/ 1101 h 6859101"/>
              <a:gd name="connsiteX1" fmla="*/ 7752484 w 8601798"/>
              <a:gd name="connsiteY1" fmla="*/ 1101 h 6859101"/>
              <a:gd name="connsiteX2" fmla="*/ 8535835 w 8601798"/>
              <a:gd name="connsiteY2" fmla="*/ 0 h 6859101"/>
              <a:gd name="connsiteX3" fmla="*/ 8548017 w 8601798"/>
              <a:gd name="connsiteY3" fmla="*/ 1037744 h 6859101"/>
              <a:gd name="connsiteX4" fmla="*/ 8527206 w 8601798"/>
              <a:gd name="connsiteY4" fmla="*/ 1632760 h 6859101"/>
              <a:gd name="connsiteX5" fmla="*/ 8527206 w 8601798"/>
              <a:gd name="connsiteY5" fmla="*/ 6859101 h 6859101"/>
              <a:gd name="connsiteX6" fmla="*/ 1968306 w 8601798"/>
              <a:gd name="connsiteY6" fmla="*/ 6859101 h 6859101"/>
              <a:gd name="connsiteX7" fmla="*/ 1963205 w 8601798"/>
              <a:gd name="connsiteY7" fmla="*/ 6856731 h 6859101"/>
              <a:gd name="connsiteX8" fmla="*/ 1098144 w 8601798"/>
              <a:gd name="connsiteY8" fmla="*/ 6341169 h 6859101"/>
              <a:gd name="connsiteX9" fmla="*/ 430707 w 8601798"/>
              <a:gd name="connsiteY9" fmla="*/ 5692094 h 6859101"/>
              <a:gd name="connsiteX10" fmla="*/ 561 w 8601798"/>
              <a:gd name="connsiteY10" fmla="*/ 4469800 h 6859101"/>
              <a:gd name="connsiteX11" fmla="*/ 47377 w 8601798"/>
              <a:gd name="connsiteY11" fmla="*/ 3945420 h 6859101"/>
              <a:gd name="connsiteX12" fmla="*/ 62248 w 8601798"/>
              <a:gd name="connsiteY12" fmla="*/ 3833673 h 6859101"/>
              <a:gd name="connsiteX13" fmla="*/ 108969 w 8601798"/>
              <a:gd name="connsiteY13" fmla="*/ 3659999 h 6859101"/>
              <a:gd name="connsiteX14" fmla="*/ 139210 w 8601798"/>
              <a:gd name="connsiteY14" fmla="*/ 3592419 h 6859101"/>
              <a:gd name="connsiteX15" fmla="*/ 486668 w 8601798"/>
              <a:gd name="connsiteY15" fmla="*/ 2815597 h 6859101"/>
              <a:gd name="connsiteX16" fmla="*/ 1140836 w 8601798"/>
              <a:gd name="connsiteY16" fmla="*/ 1858458 h 6859101"/>
              <a:gd name="connsiteX17" fmla="*/ 2283959 w 8601798"/>
              <a:gd name="connsiteY17" fmla="*/ 616417 h 6859101"/>
              <a:gd name="connsiteX18" fmla="*/ 2889393 w 8601798"/>
              <a:gd name="connsiteY18" fmla="*/ 67499 h 6859101"/>
              <a:gd name="connsiteX19" fmla="*/ 2971144 w 8601798"/>
              <a:gd name="connsiteY19" fmla="*/ 1101 h 6859101"/>
              <a:gd name="connsiteX0" fmla="*/ 2971144 w 8875759"/>
              <a:gd name="connsiteY0" fmla="*/ 1101 h 6859101"/>
              <a:gd name="connsiteX1" fmla="*/ 7752484 w 8875759"/>
              <a:gd name="connsiteY1" fmla="*/ 1101 h 6859101"/>
              <a:gd name="connsiteX2" fmla="*/ 8535835 w 8875759"/>
              <a:gd name="connsiteY2" fmla="*/ 0 h 6859101"/>
              <a:gd name="connsiteX3" fmla="*/ 8875759 w 8875759"/>
              <a:gd name="connsiteY3" fmla="*/ 1139344 h 6859101"/>
              <a:gd name="connsiteX4" fmla="*/ 8527206 w 8875759"/>
              <a:gd name="connsiteY4" fmla="*/ 1632760 h 6859101"/>
              <a:gd name="connsiteX5" fmla="*/ 8527206 w 8875759"/>
              <a:gd name="connsiteY5" fmla="*/ 6859101 h 6859101"/>
              <a:gd name="connsiteX6" fmla="*/ 1968306 w 8875759"/>
              <a:gd name="connsiteY6" fmla="*/ 6859101 h 6859101"/>
              <a:gd name="connsiteX7" fmla="*/ 1963205 w 8875759"/>
              <a:gd name="connsiteY7" fmla="*/ 6856731 h 6859101"/>
              <a:gd name="connsiteX8" fmla="*/ 1098144 w 8875759"/>
              <a:gd name="connsiteY8" fmla="*/ 6341169 h 6859101"/>
              <a:gd name="connsiteX9" fmla="*/ 430707 w 8875759"/>
              <a:gd name="connsiteY9" fmla="*/ 5692094 h 6859101"/>
              <a:gd name="connsiteX10" fmla="*/ 561 w 8875759"/>
              <a:gd name="connsiteY10" fmla="*/ 4469800 h 6859101"/>
              <a:gd name="connsiteX11" fmla="*/ 47377 w 8875759"/>
              <a:gd name="connsiteY11" fmla="*/ 3945420 h 6859101"/>
              <a:gd name="connsiteX12" fmla="*/ 62248 w 8875759"/>
              <a:gd name="connsiteY12" fmla="*/ 3833673 h 6859101"/>
              <a:gd name="connsiteX13" fmla="*/ 108969 w 8875759"/>
              <a:gd name="connsiteY13" fmla="*/ 3659999 h 6859101"/>
              <a:gd name="connsiteX14" fmla="*/ 139210 w 8875759"/>
              <a:gd name="connsiteY14" fmla="*/ 3592419 h 6859101"/>
              <a:gd name="connsiteX15" fmla="*/ 486668 w 8875759"/>
              <a:gd name="connsiteY15" fmla="*/ 2815597 h 6859101"/>
              <a:gd name="connsiteX16" fmla="*/ 1140836 w 8875759"/>
              <a:gd name="connsiteY16" fmla="*/ 1858458 h 6859101"/>
              <a:gd name="connsiteX17" fmla="*/ 2283959 w 8875759"/>
              <a:gd name="connsiteY17" fmla="*/ 616417 h 6859101"/>
              <a:gd name="connsiteX18" fmla="*/ 2889393 w 8875759"/>
              <a:gd name="connsiteY18" fmla="*/ 67499 h 6859101"/>
              <a:gd name="connsiteX19" fmla="*/ 2971144 w 8875759"/>
              <a:gd name="connsiteY19" fmla="*/ 1101 h 6859101"/>
              <a:gd name="connsiteX0" fmla="*/ 2971144 w 8875759"/>
              <a:gd name="connsiteY0" fmla="*/ 0 h 6858000"/>
              <a:gd name="connsiteX1" fmla="*/ 7752484 w 8875759"/>
              <a:gd name="connsiteY1" fmla="*/ 0 h 6858000"/>
              <a:gd name="connsiteX2" fmla="*/ 8781642 w 8875759"/>
              <a:gd name="connsiteY2" fmla="*/ 85984 h 6858000"/>
              <a:gd name="connsiteX3" fmla="*/ 8875759 w 8875759"/>
              <a:gd name="connsiteY3" fmla="*/ 1138243 h 6858000"/>
              <a:gd name="connsiteX4" fmla="*/ 8527206 w 8875759"/>
              <a:gd name="connsiteY4" fmla="*/ 1631659 h 6858000"/>
              <a:gd name="connsiteX5" fmla="*/ 8527206 w 8875759"/>
              <a:gd name="connsiteY5" fmla="*/ 6858000 h 6858000"/>
              <a:gd name="connsiteX6" fmla="*/ 1968306 w 8875759"/>
              <a:gd name="connsiteY6" fmla="*/ 6858000 h 6858000"/>
              <a:gd name="connsiteX7" fmla="*/ 1963205 w 8875759"/>
              <a:gd name="connsiteY7" fmla="*/ 6855630 h 6858000"/>
              <a:gd name="connsiteX8" fmla="*/ 1098144 w 8875759"/>
              <a:gd name="connsiteY8" fmla="*/ 6340068 h 6858000"/>
              <a:gd name="connsiteX9" fmla="*/ 430707 w 8875759"/>
              <a:gd name="connsiteY9" fmla="*/ 5690993 h 6858000"/>
              <a:gd name="connsiteX10" fmla="*/ 561 w 8875759"/>
              <a:gd name="connsiteY10" fmla="*/ 4468699 h 6858000"/>
              <a:gd name="connsiteX11" fmla="*/ 47377 w 8875759"/>
              <a:gd name="connsiteY11" fmla="*/ 3944319 h 6858000"/>
              <a:gd name="connsiteX12" fmla="*/ 62248 w 8875759"/>
              <a:gd name="connsiteY12" fmla="*/ 3832572 h 6858000"/>
              <a:gd name="connsiteX13" fmla="*/ 108969 w 8875759"/>
              <a:gd name="connsiteY13" fmla="*/ 3658898 h 6858000"/>
              <a:gd name="connsiteX14" fmla="*/ 139210 w 8875759"/>
              <a:gd name="connsiteY14" fmla="*/ 3591318 h 6858000"/>
              <a:gd name="connsiteX15" fmla="*/ 486668 w 8875759"/>
              <a:gd name="connsiteY15" fmla="*/ 2814496 h 6858000"/>
              <a:gd name="connsiteX16" fmla="*/ 1140836 w 8875759"/>
              <a:gd name="connsiteY16" fmla="*/ 1857357 h 6858000"/>
              <a:gd name="connsiteX17" fmla="*/ 2283959 w 8875759"/>
              <a:gd name="connsiteY17" fmla="*/ 615316 h 6858000"/>
              <a:gd name="connsiteX18" fmla="*/ 2889393 w 8875759"/>
              <a:gd name="connsiteY18" fmla="*/ 66398 h 6858000"/>
              <a:gd name="connsiteX19" fmla="*/ 2971144 w 8875759"/>
              <a:gd name="connsiteY19" fmla="*/ 0 h 6858000"/>
              <a:gd name="connsiteX0" fmla="*/ 2971144 w 8943533"/>
              <a:gd name="connsiteY0" fmla="*/ 1101 h 6859101"/>
              <a:gd name="connsiteX1" fmla="*/ 7752484 w 8943533"/>
              <a:gd name="connsiteY1" fmla="*/ 1101 h 6859101"/>
              <a:gd name="connsiteX2" fmla="*/ 8879965 w 8943533"/>
              <a:gd name="connsiteY2" fmla="*/ 0 h 6859101"/>
              <a:gd name="connsiteX3" fmla="*/ 8875759 w 8943533"/>
              <a:gd name="connsiteY3" fmla="*/ 1139344 h 6859101"/>
              <a:gd name="connsiteX4" fmla="*/ 8527206 w 8943533"/>
              <a:gd name="connsiteY4" fmla="*/ 1632760 h 6859101"/>
              <a:gd name="connsiteX5" fmla="*/ 8527206 w 8943533"/>
              <a:gd name="connsiteY5" fmla="*/ 6859101 h 6859101"/>
              <a:gd name="connsiteX6" fmla="*/ 1968306 w 8943533"/>
              <a:gd name="connsiteY6" fmla="*/ 6859101 h 6859101"/>
              <a:gd name="connsiteX7" fmla="*/ 1963205 w 8943533"/>
              <a:gd name="connsiteY7" fmla="*/ 6856731 h 6859101"/>
              <a:gd name="connsiteX8" fmla="*/ 1098144 w 8943533"/>
              <a:gd name="connsiteY8" fmla="*/ 6341169 h 6859101"/>
              <a:gd name="connsiteX9" fmla="*/ 430707 w 8943533"/>
              <a:gd name="connsiteY9" fmla="*/ 5692094 h 6859101"/>
              <a:gd name="connsiteX10" fmla="*/ 561 w 8943533"/>
              <a:gd name="connsiteY10" fmla="*/ 4469800 h 6859101"/>
              <a:gd name="connsiteX11" fmla="*/ 47377 w 8943533"/>
              <a:gd name="connsiteY11" fmla="*/ 3945420 h 6859101"/>
              <a:gd name="connsiteX12" fmla="*/ 62248 w 8943533"/>
              <a:gd name="connsiteY12" fmla="*/ 3833673 h 6859101"/>
              <a:gd name="connsiteX13" fmla="*/ 108969 w 8943533"/>
              <a:gd name="connsiteY13" fmla="*/ 3659999 h 6859101"/>
              <a:gd name="connsiteX14" fmla="*/ 139210 w 8943533"/>
              <a:gd name="connsiteY14" fmla="*/ 3592419 h 6859101"/>
              <a:gd name="connsiteX15" fmla="*/ 486668 w 8943533"/>
              <a:gd name="connsiteY15" fmla="*/ 2815597 h 6859101"/>
              <a:gd name="connsiteX16" fmla="*/ 1140836 w 8943533"/>
              <a:gd name="connsiteY16" fmla="*/ 1858458 h 6859101"/>
              <a:gd name="connsiteX17" fmla="*/ 2283959 w 8943533"/>
              <a:gd name="connsiteY17" fmla="*/ 616417 h 6859101"/>
              <a:gd name="connsiteX18" fmla="*/ 2889393 w 8943533"/>
              <a:gd name="connsiteY18" fmla="*/ 67499 h 6859101"/>
              <a:gd name="connsiteX19" fmla="*/ 2971144 w 8943533"/>
              <a:gd name="connsiteY19" fmla="*/ 1101 h 6859101"/>
              <a:gd name="connsiteX0" fmla="*/ 2971144 w 8914877"/>
              <a:gd name="connsiteY0" fmla="*/ 1101 h 6859101"/>
              <a:gd name="connsiteX1" fmla="*/ 7752484 w 8914877"/>
              <a:gd name="connsiteY1" fmla="*/ 1101 h 6859101"/>
              <a:gd name="connsiteX2" fmla="*/ 8879965 w 8914877"/>
              <a:gd name="connsiteY2" fmla="*/ 0 h 6859101"/>
              <a:gd name="connsiteX3" fmla="*/ 8498857 w 8914877"/>
              <a:gd name="connsiteY3" fmla="*/ 616830 h 6859101"/>
              <a:gd name="connsiteX4" fmla="*/ 8527206 w 8914877"/>
              <a:gd name="connsiteY4" fmla="*/ 1632760 h 6859101"/>
              <a:gd name="connsiteX5" fmla="*/ 8527206 w 8914877"/>
              <a:gd name="connsiteY5" fmla="*/ 6859101 h 6859101"/>
              <a:gd name="connsiteX6" fmla="*/ 1968306 w 8914877"/>
              <a:gd name="connsiteY6" fmla="*/ 6859101 h 6859101"/>
              <a:gd name="connsiteX7" fmla="*/ 1963205 w 8914877"/>
              <a:gd name="connsiteY7" fmla="*/ 6856731 h 6859101"/>
              <a:gd name="connsiteX8" fmla="*/ 1098144 w 8914877"/>
              <a:gd name="connsiteY8" fmla="*/ 6341169 h 6859101"/>
              <a:gd name="connsiteX9" fmla="*/ 430707 w 8914877"/>
              <a:gd name="connsiteY9" fmla="*/ 5692094 h 6859101"/>
              <a:gd name="connsiteX10" fmla="*/ 561 w 8914877"/>
              <a:gd name="connsiteY10" fmla="*/ 4469800 h 6859101"/>
              <a:gd name="connsiteX11" fmla="*/ 47377 w 8914877"/>
              <a:gd name="connsiteY11" fmla="*/ 3945420 h 6859101"/>
              <a:gd name="connsiteX12" fmla="*/ 62248 w 8914877"/>
              <a:gd name="connsiteY12" fmla="*/ 3833673 h 6859101"/>
              <a:gd name="connsiteX13" fmla="*/ 108969 w 8914877"/>
              <a:gd name="connsiteY13" fmla="*/ 3659999 h 6859101"/>
              <a:gd name="connsiteX14" fmla="*/ 139210 w 8914877"/>
              <a:gd name="connsiteY14" fmla="*/ 3592419 h 6859101"/>
              <a:gd name="connsiteX15" fmla="*/ 486668 w 8914877"/>
              <a:gd name="connsiteY15" fmla="*/ 2815597 h 6859101"/>
              <a:gd name="connsiteX16" fmla="*/ 1140836 w 8914877"/>
              <a:gd name="connsiteY16" fmla="*/ 1858458 h 6859101"/>
              <a:gd name="connsiteX17" fmla="*/ 2283959 w 8914877"/>
              <a:gd name="connsiteY17" fmla="*/ 616417 h 6859101"/>
              <a:gd name="connsiteX18" fmla="*/ 2889393 w 8914877"/>
              <a:gd name="connsiteY18" fmla="*/ 67499 h 6859101"/>
              <a:gd name="connsiteX19" fmla="*/ 2971144 w 8914877"/>
              <a:gd name="connsiteY19" fmla="*/ 1101 h 6859101"/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8498857 w 8527206"/>
              <a:gd name="connsiteY2" fmla="*/ 615729 h 6858000"/>
              <a:gd name="connsiteX3" fmla="*/ 8527206 w 8527206"/>
              <a:gd name="connsiteY3" fmla="*/ 1631659 h 6858000"/>
              <a:gd name="connsiteX4" fmla="*/ 8527206 w 8527206"/>
              <a:gd name="connsiteY4" fmla="*/ 6858000 h 6858000"/>
              <a:gd name="connsiteX5" fmla="*/ 1968306 w 8527206"/>
              <a:gd name="connsiteY5" fmla="*/ 6858000 h 6858000"/>
              <a:gd name="connsiteX6" fmla="*/ 1963205 w 8527206"/>
              <a:gd name="connsiteY6" fmla="*/ 6855630 h 6858000"/>
              <a:gd name="connsiteX7" fmla="*/ 1098144 w 8527206"/>
              <a:gd name="connsiteY7" fmla="*/ 6340068 h 6858000"/>
              <a:gd name="connsiteX8" fmla="*/ 430707 w 8527206"/>
              <a:gd name="connsiteY8" fmla="*/ 5690993 h 6858000"/>
              <a:gd name="connsiteX9" fmla="*/ 561 w 8527206"/>
              <a:gd name="connsiteY9" fmla="*/ 4468699 h 6858000"/>
              <a:gd name="connsiteX10" fmla="*/ 47377 w 8527206"/>
              <a:gd name="connsiteY10" fmla="*/ 3944319 h 6858000"/>
              <a:gd name="connsiteX11" fmla="*/ 62248 w 8527206"/>
              <a:gd name="connsiteY11" fmla="*/ 3832572 h 6858000"/>
              <a:gd name="connsiteX12" fmla="*/ 108969 w 8527206"/>
              <a:gd name="connsiteY12" fmla="*/ 3658898 h 6858000"/>
              <a:gd name="connsiteX13" fmla="*/ 139210 w 8527206"/>
              <a:gd name="connsiteY13" fmla="*/ 3591318 h 6858000"/>
              <a:gd name="connsiteX14" fmla="*/ 486668 w 8527206"/>
              <a:gd name="connsiteY14" fmla="*/ 2814496 h 6858000"/>
              <a:gd name="connsiteX15" fmla="*/ 1140836 w 8527206"/>
              <a:gd name="connsiteY15" fmla="*/ 1857357 h 6858000"/>
              <a:gd name="connsiteX16" fmla="*/ 2283959 w 8527206"/>
              <a:gd name="connsiteY16" fmla="*/ 615316 h 6858000"/>
              <a:gd name="connsiteX17" fmla="*/ 2889393 w 8527206"/>
              <a:gd name="connsiteY17" fmla="*/ 66398 h 6858000"/>
              <a:gd name="connsiteX18" fmla="*/ 2971144 w 8527206"/>
              <a:gd name="connsiteY18" fmla="*/ 0 h 6858000"/>
              <a:gd name="connsiteX0" fmla="*/ 2971144 w 8531631"/>
              <a:gd name="connsiteY0" fmla="*/ 8385 h 6866385"/>
              <a:gd name="connsiteX1" fmla="*/ 7752484 w 8531631"/>
              <a:gd name="connsiteY1" fmla="*/ 8385 h 6866385"/>
              <a:gd name="connsiteX2" fmla="*/ 8531631 w 8531631"/>
              <a:gd name="connsiteY2" fmla="*/ 0 h 6866385"/>
              <a:gd name="connsiteX3" fmla="*/ 8527206 w 8531631"/>
              <a:gd name="connsiteY3" fmla="*/ 1640044 h 6866385"/>
              <a:gd name="connsiteX4" fmla="*/ 8527206 w 8531631"/>
              <a:gd name="connsiteY4" fmla="*/ 6866385 h 6866385"/>
              <a:gd name="connsiteX5" fmla="*/ 1968306 w 8531631"/>
              <a:gd name="connsiteY5" fmla="*/ 6866385 h 6866385"/>
              <a:gd name="connsiteX6" fmla="*/ 1963205 w 8531631"/>
              <a:gd name="connsiteY6" fmla="*/ 6864015 h 6866385"/>
              <a:gd name="connsiteX7" fmla="*/ 1098144 w 8531631"/>
              <a:gd name="connsiteY7" fmla="*/ 6348453 h 6866385"/>
              <a:gd name="connsiteX8" fmla="*/ 430707 w 8531631"/>
              <a:gd name="connsiteY8" fmla="*/ 5699378 h 6866385"/>
              <a:gd name="connsiteX9" fmla="*/ 561 w 8531631"/>
              <a:gd name="connsiteY9" fmla="*/ 4477084 h 6866385"/>
              <a:gd name="connsiteX10" fmla="*/ 47377 w 8531631"/>
              <a:gd name="connsiteY10" fmla="*/ 3952704 h 6866385"/>
              <a:gd name="connsiteX11" fmla="*/ 62248 w 8531631"/>
              <a:gd name="connsiteY11" fmla="*/ 3840957 h 6866385"/>
              <a:gd name="connsiteX12" fmla="*/ 108969 w 8531631"/>
              <a:gd name="connsiteY12" fmla="*/ 3667283 h 6866385"/>
              <a:gd name="connsiteX13" fmla="*/ 139210 w 8531631"/>
              <a:gd name="connsiteY13" fmla="*/ 3599703 h 6866385"/>
              <a:gd name="connsiteX14" fmla="*/ 486668 w 8531631"/>
              <a:gd name="connsiteY14" fmla="*/ 2822881 h 6866385"/>
              <a:gd name="connsiteX15" fmla="*/ 1140836 w 8531631"/>
              <a:gd name="connsiteY15" fmla="*/ 1865742 h 6866385"/>
              <a:gd name="connsiteX16" fmla="*/ 2283959 w 8531631"/>
              <a:gd name="connsiteY16" fmla="*/ 623701 h 6866385"/>
              <a:gd name="connsiteX17" fmla="*/ 2889393 w 8531631"/>
              <a:gd name="connsiteY17" fmla="*/ 74783 h 6866385"/>
              <a:gd name="connsiteX18" fmla="*/ 2971144 w 8531631"/>
              <a:gd name="connsiteY18" fmla="*/ 8385 h 6866385"/>
              <a:gd name="connsiteX0" fmla="*/ 2971144 w 8527206"/>
              <a:gd name="connsiteY0" fmla="*/ 21085 h 6879085"/>
              <a:gd name="connsiteX1" fmla="*/ 7752484 w 8527206"/>
              <a:gd name="connsiteY1" fmla="*/ 21085 h 6879085"/>
              <a:gd name="connsiteX2" fmla="*/ 8517292 w 8527206"/>
              <a:gd name="connsiteY2" fmla="*/ 0 h 6879085"/>
              <a:gd name="connsiteX3" fmla="*/ 8527206 w 8527206"/>
              <a:gd name="connsiteY3" fmla="*/ 1652744 h 6879085"/>
              <a:gd name="connsiteX4" fmla="*/ 8527206 w 8527206"/>
              <a:gd name="connsiteY4" fmla="*/ 6879085 h 6879085"/>
              <a:gd name="connsiteX5" fmla="*/ 1968306 w 8527206"/>
              <a:gd name="connsiteY5" fmla="*/ 6879085 h 6879085"/>
              <a:gd name="connsiteX6" fmla="*/ 1963205 w 8527206"/>
              <a:gd name="connsiteY6" fmla="*/ 6876715 h 6879085"/>
              <a:gd name="connsiteX7" fmla="*/ 1098144 w 8527206"/>
              <a:gd name="connsiteY7" fmla="*/ 6361153 h 6879085"/>
              <a:gd name="connsiteX8" fmla="*/ 430707 w 8527206"/>
              <a:gd name="connsiteY8" fmla="*/ 5712078 h 6879085"/>
              <a:gd name="connsiteX9" fmla="*/ 561 w 8527206"/>
              <a:gd name="connsiteY9" fmla="*/ 4489784 h 6879085"/>
              <a:gd name="connsiteX10" fmla="*/ 47377 w 8527206"/>
              <a:gd name="connsiteY10" fmla="*/ 3965404 h 6879085"/>
              <a:gd name="connsiteX11" fmla="*/ 62248 w 8527206"/>
              <a:gd name="connsiteY11" fmla="*/ 3853657 h 6879085"/>
              <a:gd name="connsiteX12" fmla="*/ 108969 w 8527206"/>
              <a:gd name="connsiteY12" fmla="*/ 3679983 h 6879085"/>
              <a:gd name="connsiteX13" fmla="*/ 139210 w 8527206"/>
              <a:gd name="connsiteY13" fmla="*/ 3612403 h 6879085"/>
              <a:gd name="connsiteX14" fmla="*/ 486668 w 8527206"/>
              <a:gd name="connsiteY14" fmla="*/ 2835581 h 6879085"/>
              <a:gd name="connsiteX15" fmla="*/ 1140836 w 8527206"/>
              <a:gd name="connsiteY15" fmla="*/ 1878442 h 6879085"/>
              <a:gd name="connsiteX16" fmla="*/ 2283959 w 8527206"/>
              <a:gd name="connsiteY16" fmla="*/ 636401 h 6879085"/>
              <a:gd name="connsiteX17" fmla="*/ 2889393 w 8527206"/>
              <a:gd name="connsiteY17" fmla="*/ 87483 h 6879085"/>
              <a:gd name="connsiteX18" fmla="*/ 2971144 w 8527206"/>
              <a:gd name="connsiteY18" fmla="*/ 21085 h 6879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79085">
                <a:moveTo>
                  <a:pt x="2971144" y="21085"/>
                </a:moveTo>
                <a:lnTo>
                  <a:pt x="7752484" y="21085"/>
                </a:lnTo>
                <a:lnTo>
                  <a:pt x="8517292" y="0"/>
                </a:lnTo>
                <a:cubicBezTo>
                  <a:pt x="8520597" y="550915"/>
                  <a:pt x="8523901" y="1101829"/>
                  <a:pt x="8527206" y="1652744"/>
                </a:cubicBezTo>
                <a:lnTo>
                  <a:pt x="8527206" y="6879085"/>
                </a:lnTo>
                <a:lnTo>
                  <a:pt x="1968306" y="6879085"/>
                </a:lnTo>
                <a:lnTo>
                  <a:pt x="1963205" y="6876715"/>
                </a:lnTo>
                <a:cubicBezTo>
                  <a:pt x="1660296" y="6729085"/>
                  <a:pt x="1369305" y="6562034"/>
                  <a:pt x="1098144" y="6361153"/>
                </a:cubicBezTo>
                <a:cubicBezTo>
                  <a:pt x="846763" y="6174731"/>
                  <a:pt x="618854" y="5964164"/>
                  <a:pt x="430707" y="5712078"/>
                </a:cubicBezTo>
                <a:cubicBezTo>
                  <a:pt x="160576" y="5349599"/>
                  <a:pt x="10446" y="4944560"/>
                  <a:pt x="561" y="4489784"/>
                </a:cubicBezTo>
                <a:cubicBezTo>
                  <a:pt x="-3349" y="4313367"/>
                  <a:pt x="13298" y="4138562"/>
                  <a:pt x="47377" y="3965404"/>
                </a:cubicBezTo>
                <a:cubicBezTo>
                  <a:pt x="54591" y="3928616"/>
                  <a:pt x="57532" y="3891117"/>
                  <a:pt x="62248" y="3853657"/>
                </a:cubicBezTo>
                <a:lnTo>
                  <a:pt x="108969" y="3679983"/>
                </a:lnTo>
                <a:cubicBezTo>
                  <a:pt x="119050" y="3657455"/>
                  <a:pt x="131522" y="3636010"/>
                  <a:pt x="139210" y="3612403"/>
                </a:cubicBezTo>
                <a:cubicBezTo>
                  <a:pt x="227692" y="3341611"/>
                  <a:pt x="347049" y="3083914"/>
                  <a:pt x="486668" y="2835581"/>
                </a:cubicBezTo>
                <a:cubicBezTo>
                  <a:pt x="676736" y="2497691"/>
                  <a:pt x="899048" y="2181095"/>
                  <a:pt x="1140836" y="1878442"/>
                </a:cubicBezTo>
                <a:cubicBezTo>
                  <a:pt x="1492243" y="1437311"/>
                  <a:pt x="1878074" y="1027633"/>
                  <a:pt x="2283959" y="636401"/>
                </a:cubicBezTo>
                <a:cubicBezTo>
                  <a:pt x="2480507" y="447118"/>
                  <a:pt x="2681614" y="263303"/>
                  <a:pt x="2889393" y="87483"/>
                </a:cubicBezTo>
                <a:lnTo>
                  <a:pt x="2971144" y="21085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C83AC-F19F-476C-B089-FC9037AD3B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47879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9A1DD4E-D669-427C-9D76-B0BEE5D985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45072"/>
            <a:ext cx="47879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06541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4992914" cy="68579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761995D-0DF1-4E05-86F9-8FDA25736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7427" y="432372"/>
            <a:ext cx="6620744" cy="4935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7ABF9DB-6962-494B-A97A-585186CD46C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37426" y="980100"/>
            <a:ext cx="6620744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9412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6BD3EB6D-1CD2-49B0-AB4C-21CE2E9A53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 r="48114"/>
          <a:stretch/>
        </p:blipFill>
        <p:spPr>
          <a:xfrm>
            <a:off x="7048500" y="0"/>
            <a:ext cx="5168900" cy="6639253"/>
          </a:xfrm>
          <a:prstGeom prst="rect">
            <a:avLst/>
          </a:prstGeom>
        </p:spPr>
      </p:pic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F612C7B-614D-4083-A9ED-0FEA2207760A}"/>
              </a:ext>
            </a:extLst>
          </p:cNvPr>
          <p:cNvSpPr>
            <a:spLocks/>
          </p:cNvSpPr>
          <p:nvPr userDrawn="1">
            <p:custDataLst>
              <p:tags r:id="rId1"/>
            </p:custDataLst>
          </p:nvPr>
        </p:nvSpPr>
        <p:spPr bwMode="gray">
          <a:xfrm rot="3877479">
            <a:off x="384081" y="-3574586"/>
            <a:ext cx="11460104" cy="13998542"/>
          </a:xfrm>
          <a:custGeom>
            <a:avLst/>
            <a:gdLst>
              <a:gd name="connsiteX0" fmla="*/ 10262504 w 11460104"/>
              <a:gd name="connsiteY0" fmla="*/ 3321966 h 13998542"/>
              <a:gd name="connsiteX1" fmla="*/ 10262612 w 11460104"/>
              <a:gd name="connsiteY1" fmla="*/ 3321915 h 13998542"/>
              <a:gd name="connsiteX2" fmla="*/ 10326688 w 11460104"/>
              <a:gd name="connsiteY2" fmla="*/ 3311893 h 13998542"/>
              <a:gd name="connsiteX3" fmla="*/ 10327965 w 11460104"/>
              <a:gd name="connsiteY3" fmla="*/ 3316203 h 13998542"/>
              <a:gd name="connsiteX4" fmla="*/ 10327353 w 11460104"/>
              <a:gd name="connsiteY4" fmla="*/ 3326667 h 13998542"/>
              <a:gd name="connsiteX5" fmla="*/ 10320681 w 11460104"/>
              <a:gd name="connsiteY5" fmla="*/ 3327643 h 13998542"/>
              <a:gd name="connsiteX6" fmla="*/ 10281928 w 11460104"/>
              <a:gd name="connsiteY6" fmla="*/ 3324846 h 13998542"/>
              <a:gd name="connsiteX7" fmla="*/ 10103122 w 11460104"/>
              <a:gd name="connsiteY7" fmla="*/ 3369343 h 13998542"/>
              <a:gd name="connsiteX8" fmla="*/ 10147275 w 11460104"/>
              <a:gd name="connsiteY8" fmla="*/ 3311893 h 13998542"/>
              <a:gd name="connsiteX9" fmla="*/ 10239234 w 11460104"/>
              <a:gd name="connsiteY9" fmla="*/ 3318515 h 13998542"/>
              <a:gd name="connsiteX10" fmla="*/ 10262504 w 11460104"/>
              <a:gd name="connsiteY10" fmla="*/ 3321966 h 13998542"/>
              <a:gd name="connsiteX11" fmla="*/ 10227570 w 11460104"/>
              <a:gd name="connsiteY11" fmla="*/ 3338202 h 13998542"/>
              <a:gd name="connsiteX12" fmla="*/ 10198536 w 11460104"/>
              <a:gd name="connsiteY12" fmla="*/ 3334802 h 13998542"/>
              <a:gd name="connsiteX13" fmla="*/ 10121644 w 11460104"/>
              <a:gd name="connsiteY13" fmla="*/ 3357710 h 13998542"/>
              <a:gd name="connsiteX14" fmla="*/ 10103122 w 11460104"/>
              <a:gd name="connsiteY14" fmla="*/ 3369343 h 13998542"/>
              <a:gd name="connsiteX15" fmla="*/ 9579745 w 11460104"/>
              <a:gd name="connsiteY15" fmla="*/ 2058195 h 13998542"/>
              <a:gd name="connsiteX16" fmla="*/ 9602628 w 11460104"/>
              <a:gd name="connsiteY16" fmla="*/ 2056207 h 13998542"/>
              <a:gd name="connsiteX17" fmla="*/ 9641074 w 11460104"/>
              <a:gd name="connsiteY17" fmla="*/ 2067183 h 13998542"/>
              <a:gd name="connsiteX18" fmla="*/ 9820487 w 11460104"/>
              <a:gd name="connsiteY18" fmla="*/ 2166455 h 13998542"/>
              <a:gd name="connsiteX19" fmla="*/ 9829829 w 11460104"/>
              <a:gd name="connsiteY19" fmla="*/ 2176812 h 13998542"/>
              <a:gd name="connsiteX20" fmla="*/ 9418470 w 11460104"/>
              <a:gd name="connsiteY20" fmla="*/ 2395114 h 13998542"/>
              <a:gd name="connsiteX21" fmla="*/ 9423215 w 11460104"/>
              <a:gd name="connsiteY21" fmla="*/ 2387906 h 13998542"/>
              <a:gd name="connsiteX22" fmla="*/ 9425556 w 11460104"/>
              <a:gd name="connsiteY22" fmla="*/ 2388531 h 13998542"/>
              <a:gd name="connsiteX23" fmla="*/ 9424317 w 11460104"/>
              <a:gd name="connsiteY23" fmla="*/ 2390412 h 13998542"/>
              <a:gd name="connsiteX24" fmla="*/ 9378362 w 11460104"/>
              <a:gd name="connsiteY24" fmla="*/ 2410815 h 13998542"/>
              <a:gd name="connsiteX25" fmla="*/ 9412002 w 11460104"/>
              <a:gd name="connsiteY25" fmla="*/ 2400315 h 13998542"/>
              <a:gd name="connsiteX26" fmla="*/ 9418470 w 11460104"/>
              <a:gd name="connsiteY26" fmla="*/ 2395114 h 13998542"/>
              <a:gd name="connsiteX27" fmla="*/ 9409900 w 11460104"/>
              <a:gd name="connsiteY27" fmla="*/ 2408130 h 13998542"/>
              <a:gd name="connsiteX28" fmla="*/ 9378362 w 11460104"/>
              <a:gd name="connsiteY28" fmla="*/ 2410815 h 13998542"/>
              <a:gd name="connsiteX29" fmla="*/ 9102149 w 11460104"/>
              <a:gd name="connsiteY29" fmla="*/ 2497488 h 13998542"/>
              <a:gd name="connsiteX30" fmla="*/ 9108041 w 11460104"/>
              <a:gd name="connsiteY30" fmla="*/ 2501496 h 13998542"/>
              <a:gd name="connsiteX31" fmla="*/ 9128466 w 11460104"/>
              <a:gd name="connsiteY31" fmla="*/ 2517722 h 13998542"/>
              <a:gd name="connsiteX32" fmla="*/ 9106390 w 11460104"/>
              <a:gd name="connsiteY32" fmla="*/ 2503763 h 13998542"/>
              <a:gd name="connsiteX33" fmla="*/ 9112559 w 11460104"/>
              <a:gd name="connsiteY33" fmla="*/ 2442806 h 13998542"/>
              <a:gd name="connsiteX34" fmla="*/ 9122709 w 11460104"/>
              <a:gd name="connsiteY34" fmla="*/ 2446610 h 13998542"/>
              <a:gd name="connsiteX35" fmla="*/ 9147688 w 11460104"/>
              <a:gd name="connsiteY35" fmla="*/ 2456633 h 13998542"/>
              <a:gd name="connsiteX36" fmla="*/ 9166912 w 11460104"/>
              <a:gd name="connsiteY36" fmla="*/ 2464269 h 13998542"/>
              <a:gd name="connsiteX37" fmla="*/ 9179726 w 11460104"/>
              <a:gd name="connsiteY37" fmla="*/ 2487178 h 13998542"/>
              <a:gd name="connsiteX38" fmla="*/ 9134473 w 11460104"/>
              <a:gd name="connsiteY38" fmla="*/ 2465223 h 13998542"/>
              <a:gd name="connsiteX39" fmla="*/ 7682078 w 11460104"/>
              <a:gd name="connsiteY39" fmla="*/ 2252555 h 13998542"/>
              <a:gd name="connsiteX40" fmla="*/ 7697643 w 11460104"/>
              <a:gd name="connsiteY40" fmla="*/ 2238000 h 13998542"/>
              <a:gd name="connsiteX41" fmla="*/ 7711077 w 11460104"/>
              <a:gd name="connsiteY41" fmla="*/ 2243403 h 13998542"/>
              <a:gd name="connsiteX42" fmla="*/ 7711668 w 11460104"/>
              <a:gd name="connsiteY42" fmla="*/ 2247600 h 13998542"/>
              <a:gd name="connsiteX43" fmla="*/ 7711384 w 11460104"/>
              <a:gd name="connsiteY43" fmla="*/ 2257790 h 13998542"/>
              <a:gd name="connsiteX44" fmla="*/ 7708297 w 11460104"/>
              <a:gd name="connsiteY44" fmla="*/ 2258740 h 13998542"/>
              <a:gd name="connsiteX45" fmla="*/ 7628063 w 11460104"/>
              <a:gd name="connsiteY45" fmla="*/ 2243402 h 13998542"/>
              <a:gd name="connsiteX46" fmla="*/ 7670612 w 11460104"/>
              <a:gd name="connsiteY46" fmla="*/ 2249851 h 13998542"/>
              <a:gd name="connsiteX47" fmla="*/ 7682078 w 11460104"/>
              <a:gd name="connsiteY47" fmla="*/ 2252555 h 13998542"/>
              <a:gd name="connsiteX48" fmla="*/ 7681429 w 11460104"/>
              <a:gd name="connsiteY48" fmla="*/ 2253163 h 13998542"/>
              <a:gd name="connsiteX49" fmla="*/ 7651781 w 11460104"/>
              <a:gd name="connsiteY49" fmla="*/ 2265711 h 13998542"/>
              <a:gd name="connsiteX50" fmla="*/ 7616204 w 11460104"/>
              <a:gd name="connsiteY50" fmla="*/ 2288020 h 13998542"/>
              <a:gd name="connsiteX51" fmla="*/ 7628063 w 11460104"/>
              <a:gd name="connsiteY51" fmla="*/ 2243402 h 13998542"/>
              <a:gd name="connsiteX52" fmla="*/ 7293045 w 11460104"/>
              <a:gd name="connsiteY52" fmla="*/ 1343618 h 13998542"/>
              <a:gd name="connsiteX53" fmla="*/ 7294049 w 11460104"/>
              <a:gd name="connsiteY53" fmla="*/ 1344476 h 13998542"/>
              <a:gd name="connsiteX54" fmla="*/ 7293554 w 11460104"/>
              <a:gd name="connsiteY54" fmla="*/ 1346059 h 13998542"/>
              <a:gd name="connsiteX55" fmla="*/ 7290849 w 11460104"/>
              <a:gd name="connsiteY55" fmla="*/ 1350637 h 13998542"/>
              <a:gd name="connsiteX56" fmla="*/ 7272291 w 11460104"/>
              <a:gd name="connsiteY56" fmla="*/ 1365927 h 13998542"/>
              <a:gd name="connsiteX57" fmla="*/ 7287856 w 11460104"/>
              <a:gd name="connsiteY57" fmla="*/ 1355702 h 13998542"/>
              <a:gd name="connsiteX58" fmla="*/ 7290849 w 11460104"/>
              <a:gd name="connsiteY58" fmla="*/ 1350637 h 13998542"/>
              <a:gd name="connsiteX59" fmla="*/ 7286883 w 11460104"/>
              <a:gd name="connsiteY59" fmla="*/ 1363313 h 13998542"/>
              <a:gd name="connsiteX60" fmla="*/ 7272291 w 11460104"/>
              <a:gd name="connsiteY60" fmla="*/ 1365927 h 13998542"/>
              <a:gd name="connsiteX61" fmla="*/ 7144766 w 11460104"/>
              <a:gd name="connsiteY61" fmla="*/ 1451195 h 13998542"/>
              <a:gd name="connsiteX62" fmla="*/ 7147215 w 11460104"/>
              <a:gd name="connsiteY62" fmla="*/ 1454232 h 13998542"/>
              <a:gd name="connsiteX63" fmla="*/ 7156665 w 11460104"/>
              <a:gd name="connsiteY63" fmla="*/ 1470035 h 13998542"/>
              <a:gd name="connsiteX64" fmla="*/ 7146451 w 11460104"/>
              <a:gd name="connsiteY64" fmla="*/ 1456440 h 13998542"/>
              <a:gd name="connsiteX65" fmla="*/ 7149305 w 11460104"/>
              <a:gd name="connsiteY65" fmla="*/ 1397081 h 13998542"/>
              <a:gd name="connsiteX66" fmla="*/ 7154001 w 11460104"/>
              <a:gd name="connsiteY66" fmla="*/ 1400785 h 13998542"/>
              <a:gd name="connsiteX67" fmla="*/ 7165559 w 11460104"/>
              <a:gd name="connsiteY67" fmla="*/ 1410545 h 13998542"/>
              <a:gd name="connsiteX68" fmla="*/ 7174454 w 11460104"/>
              <a:gd name="connsiteY68" fmla="*/ 1417981 h 13998542"/>
              <a:gd name="connsiteX69" fmla="*/ 7180384 w 11460104"/>
              <a:gd name="connsiteY69" fmla="*/ 1440289 h 13998542"/>
              <a:gd name="connsiteX70" fmla="*/ 7159445 w 11460104"/>
              <a:gd name="connsiteY70" fmla="*/ 1418910 h 13998542"/>
              <a:gd name="connsiteX71" fmla="*/ 6771246 w 11460104"/>
              <a:gd name="connsiteY71" fmla="*/ 1702882 h 13998542"/>
              <a:gd name="connsiteX72" fmla="*/ 6771245 w 11460104"/>
              <a:gd name="connsiteY72" fmla="*/ 1760047 h 13998542"/>
              <a:gd name="connsiteX73" fmla="*/ 6821646 w 11460104"/>
              <a:gd name="connsiteY73" fmla="*/ 1968262 h 13998542"/>
              <a:gd name="connsiteX74" fmla="*/ 6783105 w 11460104"/>
              <a:gd name="connsiteY74" fmla="*/ 1826973 h 13998542"/>
              <a:gd name="connsiteX75" fmla="*/ 6738633 w 11460104"/>
              <a:gd name="connsiteY75" fmla="*/ 1797228 h 13998542"/>
              <a:gd name="connsiteX76" fmla="*/ 6720844 w 11460104"/>
              <a:gd name="connsiteY76" fmla="*/ 2057497 h 13998542"/>
              <a:gd name="connsiteX77" fmla="*/ 6682303 w 11460104"/>
              <a:gd name="connsiteY77" fmla="*/ 2079805 h 13998542"/>
              <a:gd name="connsiteX78" fmla="*/ 6682302 w 11460104"/>
              <a:gd name="connsiteY78" fmla="*/ 2169040 h 13998542"/>
              <a:gd name="connsiteX79" fmla="*/ 6655619 w 11460104"/>
              <a:gd name="connsiteY79" fmla="*/ 2124423 h 13998542"/>
              <a:gd name="connsiteX80" fmla="*/ 6623007 w 11460104"/>
              <a:gd name="connsiteY80" fmla="*/ 2228530 h 13998542"/>
              <a:gd name="connsiteX81" fmla="*/ 6593359 w 11460104"/>
              <a:gd name="connsiteY81" fmla="*/ 2325202 h 13998542"/>
              <a:gd name="connsiteX82" fmla="*/ 6593359 w 11460104"/>
              <a:gd name="connsiteY82" fmla="*/ 2414436 h 13998542"/>
              <a:gd name="connsiteX83" fmla="*/ 6611148 w 11460104"/>
              <a:gd name="connsiteY83" fmla="*/ 2444181 h 13998542"/>
              <a:gd name="connsiteX84" fmla="*/ 6631901 w 11460104"/>
              <a:gd name="connsiteY84" fmla="*/ 2451617 h 13998542"/>
              <a:gd name="connsiteX85" fmla="*/ 6655620 w 11460104"/>
              <a:gd name="connsiteY85" fmla="*/ 2421872 h 13998542"/>
              <a:gd name="connsiteX86" fmla="*/ 6640796 w 11460104"/>
              <a:gd name="connsiteY86" fmla="*/ 2511107 h 13998542"/>
              <a:gd name="connsiteX87" fmla="*/ 6623007 w 11460104"/>
              <a:gd name="connsiteY87" fmla="*/ 2689577 h 13998542"/>
              <a:gd name="connsiteX88" fmla="*/ 6623007 w 11460104"/>
              <a:gd name="connsiteY88" fmla="*/ 2659248 h 13998542"/>
              <a:gd name="connsiteX89" fmla="*/ 6623192 w 11460104"/>
              <a:gd name="connsiteY89" fmla="*/ 2657508 h 13998542"/>
              <a:gd name="connsiteX90" fmla="*/ 6623007 w 11460104"/>
              <a:gd name="connsiteY90" fmla="*/ 2630087 h 13998542"/>
              <a:gd name="connsiteX91" fmla="*/ 6623007 w 11460104"/>
              <a:gd name="connsiteY91" fmla="*/ 2659248 h 13998542"/>
              <a:gd name="connsiteX92" fmla="*/ 6622382 w 11460104"/>
              <a:gd name="connsiteY92" fmla="*/ 2665118 h 13998542"/>
              <a:gd name="connsiteX93" fmla="*/ 6620042 w 11460104"/>
              <a:gd name="connsiteY93" fmla="*/ 2682140 h 13998542"/>
              <a:gd name="connsiteX94" fmla="*/ 6596324 w 11460104"/>
              <a:gd name="connsiteY94" fmla="*/ 2734194 h 13998542"/>
              <a:gd name="connsiteX95" fmla="*/ 6542958 w 11460104"/>
              <a:gd name="connsiteY95" fmla="*/ 2771375 h 13998542"/>
              <a:gd name="connsiteX96" fmla="*/ 6522205 w 11460104"/>
              <a:gd name="connsiteY96" fmla="*/ 2853174 h 13998542"/>
              <a:gd name="connsiteX97" fmla="*/ 6465874 w 11460104"/>
              <a:gd name="connsiteY97" fmla="*/ 2979590 h 13998542"/>
              <a:gd name="connsiteX98" fmla="*/ 6480698 w 11460104"/>
              <a:gd name="connsiteY98" fmla="*/ 3016771 h 13998542"/>
              <a:gd name="connsiteX99" fmla="*/ 6513311 w 11460104"/>
              <a:gd name="connsiteY99" fmla="*/ 3076261 h 13998542"/>
              <a:gd name="connsiteX100" fmla="*/ 6531099 w 11460104"/>
              <a:gd name="connsiteY100" fmla="*/ 3135750 h 13998542"/>
              <a:gd name="connsiteX101" fmla="*/ 6495522 w 11460104"/>
              <a:gd name="connsiteY101" fmla="*/ 3158059 h 13998542"/>
              <a:gd name="connsiteX102" fmla="*/ 6528135 w 11460104"/>
              <a:gd name="connsiteY102" fmla="*/ 3165496 h 13998542"/>
              <a:gd name="connsiteX103" fmla="*/ 6554818 w 11460104"/>
              <a:gd name="connsiteY103" fmla="*/ 3128314 h 13998542"/>
              <a:gd name="connsiteX104" fmla="*/ 6596324 w 11460104"/>
              <a:gd name="connsiteY104" fmla="*/ 3120878 h 13998542"/>
              <a:gd name="connsiteX105" fmla="*/ 6602253 w 11460104"/>
              <a:gd name="connsiteY105" fmla="*/ 3165496 h 13998542"/>
              <a:gd name="connsiteX106" fmla="*/ 6593359 w 11460104"/>
              <a:gd name="connsiteY106" fmla="*/ 3210113 h 13998542"/>
              <a:gd name="connsiteX107" fmla="*/ 6557782 w 11460104"/>
              <a:gd name="connsiteY107" fmla="*/ 3232422 h 13998542"/>
              <a:gd name="connsiteX108" fmla="*/ 6504416 w 11460104"/>
              <a:gd name="connsiteY108" fmla="*/ 3269603 h 13998542"/>
              <a:gd name="connsiteX109" fmla="*/ 6522205 w 11460104"/>
              <a:gd name="connsiteY109" fmla="*/ 3284476 h 13998542"/>
              <a:gd name="connsiteX110" fmla="*/ 6557782 w 11460104"/>
              <a:gd name="connsiteY110" fmla="*/ 3381146 h 13998542"/>
              <a:gd name="connsiteX111" fmla="*/ 6534064 w 11460104"/>
              <a:gd name="connsiteY111" fmla="*/ 3425764 h 13998542"/>
              <a:gd name="connsiteX112" fmla="*/ 6563711 w 11460104"/>
              <a:gd name="connsiteY112" fmla="*/ 3507563 h 13998542"/>
              <a:gd name="connsiteX113" fmla="*/ 6596324 w 11460104"/>
              <a:gd name="connsiteY113" fmla="*/ 3507563 h 13998542"/>
              <a:gd name="connsiteX114" fmla="*/ 6682302 w 11460104"/>
              <a:gd name="connsiteY114" fmla="*/ 3462945 h 13998542"/>
              <a:gd name="connsiteX115" fmla="*/ 6753457 w 11460104"/>
              <a:gd name="connsiteY115" fmla="*/ 3552180 h 13998542"/>
              <a:gd name="connsiteX116" fmla="*/ 6771245 w 11460104"/>
              <a:gd name="connsiteY116" fmla="*/ 3581925 h 13998542"/>
              <a:gd name="connsiteX117" fmla="*/ 6774210 w 11460104"/>
              <a:gd name="connsiteY117" fmla="*/ 3663724 h 13998542"/>
              <a:gd name="connsiteX118" fmla="*/ 6780140 w 11460104"/>
              <a:gd name="connsiteY118" fmla="*/ 3708340 h 13998542"/>
              <a:gd name="connsiteX119" fmla="*/ 6803858 w 11460104"/>
              <a:gd name="connsiteY119" fmla="*/ 3819884 h 13998542"/>
              <a:gd name="connsiteX120" fmla="*/ 6812752 w 11460104"/>
              <a:gd name="connsiteY120" fmla="*/ 4154514 h 13998542"/>
              <a:gd name="connsiteX121" fmla="*/ 6824611 w 11460104"/>
              <a:gd name="connsiteY121" fmla="*/ 4221441 h 13998542"/>
              <a:gd name="connsiteX122" fmla="*/ 6842400 w 11460104"/>
              <a:gd name="connsiteY122" fmla="*/ 4347857 h 13998542"/>
              <a:gd name="connsiteX123" fmla="*/ 6875013 w 11460104"/>
              <a:gd name="connsiteY123" fmla="*/ 4407347 h 13998542"/>
              <a:gd name="connsiteX124" fmla="*/ 6916519 w 11460104"/>
              <a:gd name="connsiteY124" fmla="*/ 4474273 h 13998542"/>
              <a:gd name="connsiteX125" fmla="*/ 6937272 w 11460104"/>
              <a:gd name="connsiteY125" fmla="*/ 4556071 h 13998542"/>
              <a:gd name="connsiteX126" fmla="*/ 6880942 w 11460104"/>
              <a:gd name="connsiteY126" fmla="*/ 4526326 h 13998542"/>
              <a:gd name="connsiteX127" fmla="*/ 6872047 w 11460104"/>
              <a:gd name="connsiteY127" fmla="*/ 4712232 h 13998542"/>
              <a:gd name="connsiteX128" fmla="*/ 6889836 w 11460104"/>
              <a:gd name="connsiteY128" fmla="*/ 4898138 h 13998542"/>
              <a:gd name="connsiteX129" fmla="*/ 6880942 w 11460104"/>
              <a:gd name="connsiteY129" fmla="*/ 5232768 h 13998542"/>
              <a:gd name="connsiteX130" fmla="*/ 6892801 w 11460104"/>
              <a:gd name="connsiteY130" fmla="*/ 5299695 h 13998542"/>
              <a:gd name="connsiteX131" fmla="*/ 6922449 w 11460104"/>
              <a:gd name="connsiteY131" fmla="*/ 5426110 h 13998542"/>
              <a:gd name="connsiteX132" fmla="*/ 6931343 w 11460104"/>
              <a:gd name="connsiteY132" fmla="*/ 5574835 h 13998542"/>
              <a:gd name="connsiteX133" fmla="*/ 6955061 w 11460104"/>
              <a:gd name="connsiteY133" fmla="*/ 5678942 h 13998542"/>
              <a:gd name="connsiteX134" fmla="*/ 6978779 w 11460104"/>
              <a:gd name="connsiteY134" fmla="*/ 5812795 h 13998542"/>
              <a:gd name="connsiteX135" fmla="*/ 6993603 w 11460104"/>
              <a:gd name="connsiteY135" fmla="*/ 5849976 h 13998542"/>
              <a:gd name="connsiteX136" fmla="*/ 7011392 w 11460104"/>
              <a:gd name="connsiteY136" fmla="*/ 5879721 h 13998542"/>
              <a:gd name="connsiteX137" fmla="*/ 7055863 w 11460104"/>
              <a:gd name="connsiteY137" fmla="*/ 5954083 h 13998542"/>
              <a:gd name="connsiteX138" fmla="*/ 7115158 w 11460104"/>
              <a:gd name="connsiteY138" fmla="*/ 5976392 h 13998542"/>
              <a:gd name="connsiteX139" fmla="*/ 7138876 w 11460104"/>
              <a:gd name="connsiteY139" fmla="*/ 5745869 h 13998542"/>
              <a:gd name="connsiteX140" fmla="*/ 7144806 w 11460104"/>
              <a:gd name="connsiteY140" fmla="*/ 5701251 h 13998542"/>
              <a:gd name="connsiteX141" fmla="*/ 7144806 w 11460104"/>
              <a:gd name="connsiteY141" fmla="*/ 5656634 h 13998542"/>
              <a:gd name="connsiteX142" fmla="*/ 7189278 w 11460104"/>
              <a:gd name="connsiteY142" fmla="*/ 5366621 h 13998542"/>
              <a:gd name="connsiteX143" fmla="*/ 7221890 w 11460104"/>
              <a:gd name="connsiteY143" fmla="*/ 5344312 h 13998542"/>
              <a:gd name="connsiteX144" fmla="*/ 7275256 w 11460104"/>
              <a:gd name="connsiteY144" fmla="*/ 5269950 h 13998542"/>
              <a:gd name="connsiteX145" fmla="*/ 7310833 w 11460104"/>
              <a:gd name="connsiteY145" fmla="*/ 5180715 h 13998542"/>
              <a:gd name="connsiteX146" fmla="*/ 7352340 w 11460104"/>
              <a:gd name="connsiteY146" fmla="*/ 4957628 h 13998542"/>
              <a:gd name="connsiteX147" fmla="*/ 7379023 w 11460104"/>
              <a:gd name="connsiteY147" fmla="*/ 4920447 h 13998542"/>
              <a:gd name="connsiteX148" fmla="*/ 7488719 w 11460104"/>
              <a:gd name="connsiteY148" fmla="*/ 4853521 h 13998542"/>
              <a:gd name="connsiteX149" fmla="*/ 7518367 w 11460104"/>
              <a:gd name="connsiteY149" fmla="*/ 4786594 h 13998542"/>
              <a:gd name="connsiteX150" fmla="*/ 7553944 w 11460104"/>
              <a:gd name="connsiteY150" fmla="*/ 4689924 h 13998542"/>
              <a:gd name="connsiteX151" fmla="*/ 7571733 w 11460104"/>
              <a:gd name="connsiteY151" fmla="*/ 4630434 h 13998542"/>
              <a:gd name="connsiteX152" fmla="*/ 7503543 w 11460104"/>
              <a:gd name="connsiteY152" fmla="*/ 4444528 h 13998542"/>
              <a:gd name="connsiteX153" fmla="*/ 7530226 w 11460104"/>
              <a:gd name="connsiteY153" fmla="*/ 4511454 h 13998542"/>
              <a:gd name="connsiteX154" fmla="*/ 7556909 w 11460104"/>
              <a:gd name="connsiteY154" fmla="*/ 4563508 h 13998542"/>
              <a:gd name="connsiteX155" fmla="*/ 7592486 w 11460104"/>
              <a:gd name="connsiteY155" fmla="*/ 4496581 h 13998542"/>
              <a:gd name="connsiteX156" fmla="*/ 7586556 w 11460104"/>
              <a:gd name="connsiteY156" fmla="*/ 4451964 h 13998542"/>
              <a:gd name="connsiteX157" fmla="*/ 7568768 w 11460104"/>
              <a:gd name="connsiteY157" fmla="*/ 4310676 h 13998542"/>
              <a:gd name="connsiteX158" fmla="*/ 7586557 w 11460104"/>
              <a:gd name="connsiteY158" fmla="*/ 4288367 h 13998542"/>
              <a:gd name="connsiteX159" fmla="*/ 7589521 w 11460104"/>
              <a:gd name="connsiteY159" fmla="*/ 4221441 h 13998542"/>
              <a:gd name="connsiteX160" fmla="*/ 7586556 w 11460104"/>
              <a:gd name="connsiteY160" fmla="*/ 4132206 h 13998542"/>
              <a:gd name="connsiteX161" fmla="*/ 7542085 w 11460104"/>
              <a:gd name="connsiteY161" fmla="*/ 4005790 h 13998542"/>
              <a:gd name="connsiteX162" fmla="*/ 7628063 w 11460104"/>
              <a:gd name="connsiteY162" fmla="*/ 3976045 h 13998542"/>
              <a:gd name="connsiteX163" fmla="*/ 7598416 w 11460104"/>
              <a:gd name="connsiteY163" fmla="*/ 3886810 h 13998542"/>
              <a:gd name="connsiteX164" fmla="*/ 7636958 w 11460104"/>
              <a:gd name="connsiteY164" fmla="*/ 3834756 h 13998542"/>
              <a:gd name="connsiteX165" fmla="*/ 7648817 w 11460104"/>
              <a:gd name="connsiteY165" fmla="*/ 3790139 h 13998542"/>
              <a:gd name="connsiteX166" fmla="*/ 7586557 w 11460104"/>
              <a:gd name="connsiteY166" fmla="*/ 3604233 h 13998542"/>
              <a:gd name="connsiteX167" fmla="*/ 7604345 w 11460104"/>
              <a:gd name="connsiteY167" fmla="*/ 3678596 h 13998542"/>
              <a:gd name="connsiteX168" fmla="*/ 7639922 w 11460104"/>
              <a:gd name="connsiteY168" fmla="*/ 3559616 h 13998542"/>
              <a:gd name="connsiteX169" fmla="*/ 7633993 w 11460104"/>
              <a:gd name="connsiteY169" fmla="*/ 3514999 h 13998542"/>
              <a:gd name="connsiteX170" fmla="*/ 7625099 w 11460104"/>
              <a:gd name="connsiteY170" fmla="*/ 3462945 h 13998542"/>
              <a:gd name="connsiteX171" fmla="*/ 7580627 w 11460104"/>
              <a:gd name="connsiteY171" fmla="*/ 3373710 h 13998542"/>
              <a:gd name="connsiteX172" fmla="*/ 7586556 w 11460104"/>
              <a:gd name="connsiteY172" fmla="*/ 3306784 h 13998542"/>
              <a:gd name="connsiteX173" fmla="*/ 7660676 w 11460104"/>
              <a:gd name="connsiteY173" fmla="*/ 3224986 h 13998542"/>
              <a:gd name="connsiteX174" fmla="*/ 7595451 w 11460104"/>
              <a:gd name="connsiteY174" fmla="*/ 2979590 h 13998542"/>
              <a:gd name="connsiteX175" fmla="*/ 7604345 w 11460104"/>
              <a:gd name="connsiteY175" fmla="*/ 2808556 h 13998542"/>
              <a:gd name="connsiteX176" fmla="*/ 7642887 w 11460104"/>
              <a:gd name="connsiteY176" fmla="*/ 2823429 h 13998542"/>
              <a:gd name="connsiteX177" fmla="*/ 7639922 w 11460104"/>
              <a:gd name="connsiteY177" fmla="*/ 2644959 h 13998542"/>
              <a:gd name="connsiteX178" fmla="*/ 7636958 w 11460104"/>
              <a:gd name="connsiteY178" fmla="*/ 2503671 h 13998542"/>
              <a:gd name="connsiteX179" fmla="*/ 7645852 w 11460104"/>
              <a:gd name="connsiteY179" fmla="*/ 2518543 h 13998542"/>
              <a:gd name="connsiteX180" fmla="*/ 7672535 w 11460104"/>
              <a:gd name="connsiteY180" fmla="*/ 2525980 h 13998542"/>
              <a:gd name="connsiteX181" fmla="*/ 7687359 w 11460104"/>
              <a:gd name="connsiteY181" fmla="*/ 2444182 h 13998542"/>
              <a:gd name="connsiteX182" fmla="*/ 7633993 w 11460104"/>
              <a:gd name="connsiteY182" fmla="*/ 2429309 h 13998542"/>
              <a:gd name="connsiteX183" fmla="*/ 7636957 w 11460104"/>
              <a:gd name="connsiteY183" fmla="*/ 2377255 h 13998542"/>
              <a:gd name="connsiteX184" fmla="*/ 7702183 w 11460104"/>
              <a:gd name="connsiteY184" fmla="*/ 2362382 h 13998542"/>
              <a:gd name="connsiteX185" fmla="*/ 7711355 w 11460104"/>
              <a:gd name="connsiteY185" fmla="*/ 2258856 h 13998542"/>
              <a:gd name="connsiteX186" fmla="*/ 7711384 w 11460104"/>
              <a:gd name="connsiteY186" fmla="*/ 2257790 h 13998542"/>
              <a:gd name="connsiteX187" fmla="*/ 7723796 w 11460104"/>
              <a:gd name="connsiteY187" fmla="*/ 2253969 h 13998542"/>
              <a:gd name="connsiteX188" fmla="*/ 7749619 w 11460104"/>
              <a:gd name="connsiteY188" fmla="*/ 2154168 h 13998542"/>
              <a:gd name="connsiteX189" fmla="*/ 7773337 w 11460104"/>
              <a:gd name="connsiteY189" fmla="*/ 2035188 h 13998542"/>
              <a:gd name="connsiteX190" fmla="*/ 7805950 w 11460104"/>
              <a:gd name="connsiteY190" fmla="*/ 1960826 h 13998542"/>
              <a:gd name="connsiteX191" fmla="*/ 7794090 w 11460104"/>
              <a:gd name="connsiteY191" fmla="*/ 1841846 h 13998542"/>
              <a:gd name="connsiteX192" fmla="*/ 7776302 w 11460104"/>
              <a:gd name="connsiteY192" fmla="*/ 1826973 h 13998542"/>
              <a:gd name="connsiteX193" fmla="*/ 7728865 w 11460104"/>
              <a:gd name="connsiteY193" fmla="*/ 1789792 h 13998542"/>
              <a:gd name="connsiteX194" fmla="*/ 7687359 w 11460104"/>
              <a:gd name="connsiteY194" fmla="*/ 1856719 h 13998542"/>
              <a:gd name="connsiteX195" fmla="*/ 7668459 w 11460104"/>
              <a:gd name="connsiteY195" fmla="*/ 1838128 h 13998542"/>
              <a:gd name="connsiteX196" fmla="*/ 7664016 w 11460104"/>
              <a:gd name="connsiteY196" fmla="*/ 1833510 h 13998542"/>
              <a:gd name="connsiteX197" fmla="*/ 7660676 w 11460104"/>
              <a:gd name="connsiteY197" fmla="*/ 1812101 h 13998542"/>
              <a:gd name="connsiteX198" fmla="*/ 7645296 w 11460104"/>
              <a:gd name="connsiteY198" fmla="*/ 1761442 h 13998542"/>
              <a:gd name="connsiteX199" fmla="*/ 7644997 w 11460104"/>
              <a:gd name="connsiteY199" fmla="*/ 1760012 h 13998542"/>
              <a:gd name="connsiteX200" fmla="*/ 7644069 w 11460104"/>
              <a:gd name="connsiteY200" fmla="*/ 1735357 h 13998542"/>
              <a:gd name="connsiteX201" fmla="*/ 7639922 w 11460104"/>
              <a:gd name="connsiteY201" fmla="*/ 1707994 h 13998542"/>
              <a:gd name="connsiteX202" fmla="*/ 7640038 w 11460104"/>
              <a:gd name="connsiteY202" fmla="*/ 1736287 h 13998542"/>
              <a:gd name="connsiteX203" fmla="*/ 7644997 w 11460104"/>
              <a:gd name="connsiteY203" fmla="*/ 1760012 h 13998542"/>
              <a:gd name="connsiteX204" fmla="*/ 7645297 w 11460104"/>
              <a:gd name="connsiteY204" fmla="*/ 1767949 h 13998542"/>
              <a:gd name="connsiteX205" fmla="*/ 7651781 w 11460104"/>
              <a:gd name="connsiteY205" fmla="*/ 1819537 h 13998542"/>
              <a:gd name="connsiteX206" fmla="*/ 7658174 w 11460104"/>
              <a:gd name="connsiteY206" fmla="*/ 1827438 h 13998542"/>
              <a:gd name="connsiteX207" fmla="*/ 7664016 w 11460104"/>
              <a:gd name="connsiteY207" fmla="*/ 1833510 h 13998542"/>
              <a:gd name="connsiteX208" fmla="*/ 7665679 w 11460104"/>
              <a:gd name="connsiteY208" fmla="*/ 1844169 h 13998542"/>
              <a:gd name="connsiteX209" fmla="*/ 7669570 w 11460104"/>
              <a:gd name="connsiteY209" fmla="*/ 1879027 h 13998542"/>
              <a:gd name="connsiteX210" fmla="*/ 7678464 w 11460104"/>
              <a:gd name="connsiteY210" fmla="*/ 1886463 h 13998542"/>
              <a:gd name="connsiteX211" fmla="*/ 7681429 w 11460104"/>
              <a:gd name="connsiteY211" fmla="*/ 1908772 h 13998542"/>
              <a:gd name="connsiteX212" fmla="*/ 7687358 w 11460104"/>
              <a:gd name="connsiteY212" fmla="*/ 1945953 h 13998542"/>
              <a:gd name="connsiteX213" fmla="*/ 7675500 w 11460104"/>
              <a:gd name="connsiteY213" fmla="*/ 1923645 h 13998542"/>
              <a:gd name="connsiteX214" fmla="*/ 7651781 w 11460104"/>
              <a:gd name="connsiteY214" fmla="*/ 1931081 h 13998542"/>
              <a:gd name="connsiteX215" fmla="*/ 7628063 w 11460104"/>
              <a:gd name="connsiteY215" fmla="*/ 1871591 h 13998542"/>
              <a:gd name="connsiteX216" fmla="*/ 7622134 w 11460104"/>
              <a:gd name="connsiteY216" fmla="*/ 1916209 h 13998542"/>
              <a:gd name="connsiteX217" fmla="*/ 7604345 w 11460104"/>
              <a:gd name="connsiteY217" fmla="*/ 2027752 h 13998542"/>
              <a:gd name="connsiteX218" fmla="*/ 7586557 w 11460104"/>
              <a:gd name="connsiteY218" fmla="*/ 2057497 h 13998542"/>
              <a:gd name="connsiteX219" fmla="*/ 7562838 w 11460104"/>
              <a:gd name="connsiteY219" fmla="*/ 2191349 h 13998542"/>
              <a:gd name="connsiteX220" fmla="*/ 7550979 w 11460104"/>
              <a:gd name="connsiteY220" fmla="*/ 2258275 h 13998542"/>
              <a:gd name="connsiteX221" fmla="*/ 7539121 w 11460104"/>
              <a:gd name="connsiteY221" fmla="*/ 2206221 h 13998542"/>
              <a:gd name="connsiteX222" fmla="*/ 7559873 w 11460104"/>
              <a:gd name="connsiteY222" fmla="*/ 2072370 h 13998542"/>
              <a:gd name="connsiteX223" fmla="*/ 7592486 w 11460104"/>
              <a:gd name="connsiteY223" fmla="*/ 1998007 h 13998542"/>
              <a:gd name="connsiteX224" fmla="*/ 7580627 w 11460104"/>
              <a:gd name="connsiteY224" fmla="*/ 1722866 h 13998542"/>
              <a:gd name="connsiteX225" fmla="*/ 7562838 w 11460104"/>
              <a:gd name="connsiteY225" fmla="*/ 1752611 h 13998542"/>
              <a:gd name="connsiteX226" fmla="*/ 7539120 w 11460104"/>
              <a:gd name="connsiteY226" fmla="*/ 1871591 h 13998542"/>
              <a:gd name="connsiteX227" fmla="*/ 7509473 w 11460104"/>
              <a:gd name="connsiteY227" fmla="*/ 1879027 h 13998542"/>
              <a:gd name="connsiteX228" fmla="*/ 7482790 w 11460104"/>
              <a:gd name="connsiteY228" fmla="*/ 1923645 h 13998542"/>
              <a:gd name="connsiteX229" fmla="*/ 7485754 w 11460104"/>
              <a:gd name="connsiteY229" fmla="*/ 1871591 h 13998542"/>
              <a:gd name="connsiteX230" fmla="*/ 7515402 w 11460104"/>
              <a:gd name="connsiteY230" fmla="*/ 1745175 h 13998542"/>
              <a:gd name="connsiteX231" fmla="*/ 7450177 w 11460104"/>
              <a:gd name="connsiteY231" fmla="*/ 1730302 h 13998542"/>
              <a:gd name="connsiteX232" fmla="*/ 7361234 w 11460104"/>
              <a:gd name="connsiteY232" fmla="*/ 1834410 h 13998542"/>
              <a:gd name="connsiteX233" fmla="*/ 7340481 w 11460104"/>
              <a:gd name="connsiteY233" fmla="*/ 1834410 h 13998542"/>
              <a:gd name="connsiteX234" fmla="*/ 7364199 w 11460104"/>
              <a:gd name="connsiteY234" fmla="*/ 1722866 h 13998542"/>
              <a:gd name="connsiteX235" fmla="*/ 7390882 w 11460104"/>
              <a:gd name="connsiteY235" fmla="*/ 1700557 h 13998542"/>
              <a:gd name="connsiteX236" fmla="*/ 7399776 w 11460104"/>
              <a:gd name="connsiteY236" fmla="*/ 1685685 h 13998542"/>
              <a:gd name="connsiteX237" fmla="*/ 7417565 w 11460104"/>
              <a:gd name="connsiteY237" fmla="*/ 1670812 h 13998542"/>
              <a:gd name="connsiteX238" fmla="*/ 7506508 w 11460104"/>
              <a:gd name="connsiteY238" fmla="*/ 1678249 h 13998542"/>
              <a:gd name="connsiteX239" fmla="*/ 7524296 w 11460104"/>
              <a:gd name="connsiteY239" fmla="*/ 1648504 h 13998542"/>
              <a:gd name="connsiteX240" fmla="*/ 7542085 w 11460104"/>
              <a:gd name="connsiteY240" fmla="*/ 1633632 h 13998542"/>
              <a:gd name="connsiteX241" fmla="*/ 7571733 w 11460104"/>
              <a:gd name="connsiteY241" fmla="*/ 1566705 h 13998542"/>
              <a:gd name="connsiteX242" fmla="*/ 7583592 w 11460104"/>
              <a:gd name="connsiteY242" fmla="*/ 1559269 h 13998542"/>
              <a:gd name="connsiteX243" fmla="*/ 7586556 w 11460104"/>
              <a:gd name="connsiteY243" fmla="*/ 1447726 h 13998542"/>
              <a:gd name="connsiteX244" fmla="*/ 7556909 w 11460104"/>
              <a:gd name="connsiteY244" fmla="*/ 1403109 h 13998542"/>
              <a:gd name="connsiteX245" fmla="*/ 7545050 w 11460104"/>
              <a:gd name="connsiteY245" fmla="*/ 1380799 h 13998542"/>
              <a:gd name="connsiteX246" fmla="*/ 7521332 w 11460104"/>
              <a:gd name="connsiteY246" fmla="*/ 1373364 h 13998542"/>
              <a:gd name="connsiteX247" fmla="*/ 7503543 w 11460104"/>
              <a:gd name="connsiteY247" fmla="*/ 1395672 h 13998542"/>
              <a:gd name="connsiteX248" fmla="*/ 7506508 w 11460104"/>
              <a:gd name="connsiteY248" fmla="*/ 1358491 h 13998542"/>
              <a:gd name="connsiteX249" fmla="*/ 7509472 w 11460104"/>
              <a:gd name="connsiteY249" fmla="*/ 1276692 h 13998542"/>
              <a:gd name="connsiteX250" fmla="*/ 7456107 w 11460104"/>
              <a:gd name="connsiteY250" fmla="*/ 1284128 h 13998542"/>
              <a:gd name="connsiteX251" fmla="*/ 7379023 w 11460104"/>
              <a:gd name="connsiteY251" fmla="*/ 1336182 h 13998542"/>
              <a:gd name="connsiteX252" fmla="*/ 7325657 w 11460104"/>
              <a:gd name="connsiteY252" fmla="*/ 1462598 h 13998542"/>
              <a:gd name="connsiteX253" fmla="*/ 7314817 w 11460104"/>
              <a:gd name="connsiteY253" fmla="*/ 1362209 h 13998542"/>
              <a:gd name="connsiteX254" fmla="*/ 7294049 w 11460104"/>
              <a:gd name="connsiteY254" fmla="*/ 1344476 h 13998542"/>
              <a:gd name="connsiteX255" fmla="*/ 7298974 w 11460104"/>
              <a:gd name="connsiteY255" fmla="*/ 1328746 h 13998542"/>
              <a:gd name="connsiteX256" fmla="*/ 7376058 w 11460104"/>
              <a:gd name="connsiteY256" fmla="*/ 1246947 h 13998542"/>
              <a:gd name="connsiteX257" fmla="*/ 7453142 w 11460104"/>
              <a:gd name="connsiteY257" fmla="*/ 1232074 h 13998542"/>
              <a:gd name="connsiteX258" fmla="*/ 7491684 w 11460104"/>
              <a:gd name="connsiteY258" fmla="*/ 1165148 h 13998542"/>
              <a:gd name="connsiteX259" fmla="*/ 7476860 w 11460104"/>
              <a:gd name="connsiteY259" fmla="*/ 1127967 h 13998542"/>
              <a:gd name="connsiteX260" fmla="*/ 7393847 w 11460104"/>
              <a:gd name="connsiteY260" fmla="*/ 1031296 h 13998542"/>
              <a:gd name="connsiteX261" fmla="*/ 7358269 w 11460104"/>
              <a:gd name="connsiteY261" fmla="*/ 1023860 h 13998542"/>
              <a:gd name="connsiteX262" fmla="*/ 7263397 w 11460104"/>
              <a:gd name="connsiteY262" fmla="*/ 1068478 h 13998542"/>
              <a:gd name="connsiteX263" fmla="*/ 7204101 w 11460104"/>
              <a:gd name="connsiteY263" fmla="*/ 1135404 h 13998542"/>
              <a:gd name="connsiteX264" fmla="*/ 7168525 w 11460104"/>
              <a:gd name="connsiteY264" fmla="*/ 1165149 h 13998542"/>
              <a:gd name="connsiteX265" fmla="*/ 7141842 w 11460104"/>
              <a:gd name="connsiteY265" fmla="*/ 1172585 h 13998542"/>
              <a:gd name="connsiteX266" fmla="*/ 7138877 w 11460104"/>
              <a:gd name="connsiteY266" fmla="*/ 1194894 h 13998542"/>
              <a:gd name="connsiteX267" fmla="*/ 7100335 w 11460104"/>
              <a:gd name="connsiteY267" fmla="*/ 1209766 h 13998542"/>
              <a:gd name="connsiteX268" fmla="*/ 7106264 w 11460104"/>
              <a:gd name="connsiteY268" fmla="*/ 1254383 h 13998542"/>
              <a:gd name="connsiteX269" fmla="*/ 7097370 w 11460104"/>
              <a:gd name="connsiteY269" fmla="*/ 1246947 h 13998542"/>
              <a:gd name="connsiteX270" fmla="*/ 7067722 w 11460104"/>
              <a:gd name="connsiteY270" fmla="*/ 1284128 h 13998542"/>
              <a:gd name="connsiteX271" fmla="*/ 7097370 w 11460104"/>
              <a:gd name="connsiteY271" fmla="*/ 1358491 h 13998542"/>
              <a:gd name="connsiteX272" fmla="*/ 7141842 w 11460104"/>
              <a:gd name="connsiteY272" fmla="*/ 1380800 h 13998542"/>
              <a:gd name="connsiteX273" fmla="*/ 7148489 w 11460104"/>
              <a:gd name="connsiteY273" fmla="*/ 1395324 h 13998542"/>
              <a:gd name="connsiteX274" fmla="*/ 7149305 w 11460104"/>
              <a:gd name="connsiteY274" fmla="*/ 1397081 h 13998542"/>
              <a:gd name="connsiteX275" fmla="*/ 7148698 w 11460104"/>
              <a:gd name="connsiteY275" fmla="*/ 1396601 h 13998542"/>
              <a:gd name="connsiteX276" fmla="*/ 7132947 w 11460104"/>
              <a:gd name="connsiteY276" fmla="*/ 1388235 h 13998542"/>
              <a:gd name="connsiteX277" fmla="*/ 7138877 w 11460104"/>
              <a:gd name="connsiteY277" fmla="*/ 1432853 h 13998542"/>
              <a:gd name="connsiteX278" fmla="*/ 7144766 w 11460104"/>
              <a:gd name="connsiteY278" fmla="*/ 1451195 h 13998542"/>
              <a:gd name="connsiteX279" fmla="*/ 7129982 w 11460104"/>
              <a:gd name="connsiteY279" fmla="*/ 1432854 h 13998542"/>
              <a:gd name="connsiteX280" fmla="*/ 7061793 w 11460104"/>
              <a:gd name="connsiteY280" fmla="*/ 1432853 h 13998542"/>
              <a:gd name="connsiteX281" fmla="*/ 7067722 w 11460104"/>
              <a:gd name="connsiteY281" fmla="*/ 1477471 h 13998542"/>
              <a:gd name="connsiteX282" fmla="*/ 7082546 w 11460104"/>
              <a:gd name="connsiteY282" fmla="*/ 1544397 h 13998542"/>
              <a:gd name="connsiteX283" fmla="*/ 7106264 w 11460104"/>
              <a:gd name="connsiteY283" fmla="*/ 1633631 h 13998542"/>
              <a:gd name="connsiteX284" fmla="*/ 7064758 w 11460104"/>
              <a:gd name="connsiteY284" fmla="*/ 1470034 h 13998542"/>
              <a:gd name="connsiteX285" fmla="*/ 7035110 w 11460104"/>
              <a:gd name="connsiteY285" fmla="*/ 1447725 h 13998542"/>
              <a:gd name="connsiteX286" fmla="*/ 7029180 w 11460104"/>
              <a:gd name="connsiteY286" fmla="*/ 1559269 h 13998542"/>
              <a:gd name="connsiteX287" fmla="*/ 7067722 w 11460104"/>
              <a:gd name="connsiteY287" fmla="*/ 1670813 h 13998542"/>
              <a:gd name="connsiteX288" fmla="*/ 7091440 w 11460104"/>
              <a:gd name="connsiteY288" fmla="*/ 1812101 h 13998542"/>
              <a:gd name="connsiteX289" fmla="*/ 7049934 w 11460104"/>
              <a:gd name="connsiteY289" fmla="*/ 1700557 h 13998542"/>
              <a:gd name="connsiteX290" fmla="*/ 7017322 w 11460104"/>
              <a:gd name="connsiteY290" fmla="*/ 1633631 h 13998542"/>
              <a:gd name="connsiteX291" fmla="*/ 6999533 w 11460104"/>
              <a:gd name="connsiteY291" fmla="*/ 1574141 h 13998542"/>
              <a:gd name="connsiteX292" fmla="*/ 6952096 w 11460104"/>
              <a:gd name="connsiteY292" fmla="*/ 1536960 h 13998542"/>
              <a:gd name="connsiteX293" fmla="*/ 6949132 w 11460104"/>
              <a:gd name="connsiteY293" fmla="*/ 1589014 h 13998542"/>
              <a:gd name="connsiteX294" fmla="*/ 6960991 w 11460104"/>
              <a:gd name="connsiteY294" fmla="*/ 1685685 h 13998542"/>
              <a:gd name="connsiteX295" fmla="*/ 6969885 w 11460104"/>
              <a:gd name="connsiteY295" fmla="*/ 1774920 h 13998542"/>
              <a:gd name="connsiteX296" fmla="*/ 6913554 w 11460104"/>
              <a:gd name="connsiteY296" fmla="*/ 1641068 h 13998542"/>
              <a:gd name="connsiteX297" fmla="*/ 6898730 w 11460104"/>
              <a:gd name="connsiteY297" fmla="*/ 1745175 h 13998542"/>
              <a:gd name="connsiteX298" fmla="*/ 6892801 w 11460104"/>
              <a:gd name="connsiteY298" fmla="*/ 1916209 h 13998542"/>
              <a:gd name="connsiteX299" fmla="*/ 6875012 w 11460104"/>
              <a:gd name="connsiteY299" fmla="*/ 1626195 h 13998542"/>
              <a:gd name="connsiteX300" fmla="*/ 6842400 w 11460104"/>
              <a:gd name="connsiteY300" fmla="*/ 1648504 h 13998542"/>
              <a:gd name="connsiteX301" fmla="*/ 6806822 w 11460104"/>
              <a:gd name="connsiteY301" fmla="*/ 1693121 h 13998542"/>
              <a:gd name="connsiteX302" fmla="*/ 6771246 w 11460104"/>
              <a:gd name="connsiteY302" fmla="*/ 1702882 h 13998542"/>
              <a:gd name="connsiteX303" fmla="*/ 6429600 w 11460104"/>
              <a:gd name="connsiteY303" fmla="*/ 2385285 h 13998542"/>
              <a:gd name="connsiteX304" fmla="*/ 6440541 w 11460104"/>
              <a:gd name="connsiteY304" fmla="*/ 2374984 h 13998542"/>
              <a:gd name="connsiteX305" fmla="*/ 6449984 w 11460104"/>
              <a:gd name="connsiteY305" fmla="*/ 2378808 h 13998542"/>
              <a:gd name="connsiteX306" fmla="*/ 6450166 w 11460104"/>
              <a:gd name="connsiteY306" fmla="*/ 2389000 h 13998542"/>
              <a:gd name="connsiteX307" fmla="*/ 6448030 w 11460104"/>
              <a:gd name="connsiteY307" fmla="*/ 2389662 h 13998542"/>
              <a:gd name="connsiteX308" fmla="*/ 6391631 w 11460104"/>
              <a:gd name="connsiteY308" fmla="*/ 2378808 h 13998542"/>
              <a:gd name="connsiteX309" fmla="*/ 6421540 w 11460104"/>
              <a:gd name="connsiteY309" fmla="*/ 2383371 h 13998542"/>
              <a:gd name="connsiteX310" fmla="*/ 6429600 w 11460104"/>
              <a:gd name="connsiteY310" fmla="*/ 2385285 h 13998542"/>
              <a:gd name="connsiteX311" fmla="*/ 6429143 w 11460104"/>
              <a:gd name="connsiteY311" fmla="*/ 2385715 h 13998542"/>
              <a:gd name="connsiteX312" fmla="*/ 6408303 w 11460104"/>
              <a:gd name="connsiteY312" fmla="*/ 2394596 h 13998542"/>
              <a:gd name="connsiteX313" fmla="*/ 6383295 w 11460104"/>
              <a:gd name="connsiteY313" fmla="*/ 2410383 h 13998542"/>
              <a:gd name="connsiteX314" fmla="*/ 6391631 w 11460104"/>
              <a:gd name="connsiteY314" fmla="*/ 2378808 h 13998542"/>
              <a:gd name="connsiteX315" fmla="*/ 5612320 w 11460104"/>
              <a:gd name="connsiteY315" fmla="*/ 3190293 h 13998542"/>
              <a:gd name="connsiteX316" fmla="*/ 5617631 w 11460104"/>
              <a:gd name="connsiteY316" fmla="*/ 3186685 h 13998542"/>
              <a:gd name="connsiteX317" fmla="*/ 5623735 w 11460104"/>
              <a:gd name="connsiteY317" fmla="*/ 3185921 h 13998542"/>
              <a:gd name="connsiteX318" fmla="*/ 5633691 w 11460104"/>
              <a:gd name="connsiteY318" fmla="*/ 3240338 h 13998542"/>
              <a:gd name="connsiteX319" fmla="*/ 5633701 w 11460104"/>
              <a:gd name="connsiteY319" fmla="*/ 3240399 h 13998542"/>
              <a:gd name="connsiteX320" fmla="*/ 5622614 w 11460104"/>
              <a:gd name="connsiteY320" fmla="*/ 3215547 h 13998542"/>
              <a:gd name="connsiteX321" fmla="*/ 5612320 w 11460104"/>
              <a:gd name="connsiteY321" fmla="*/ 3190293 h 13998542"/>
              <a:gd name="connsiteX322" fmla="*/ 5615395 w 11460104"/>
              <a:gd name="connsiteY322" fmla="*/ 3117689 h 13998542"/>
              <a:gd name="connsiteX323" fmla="*/ 5629126 w 11460104"/>
              <a:gd name="connsiteY323" fmla="*/ 3143845 h 13998542"/>
              <a:gd name="connsiteX324" fmla="*/ 5639286 w 11460104"/>
              <a:gd name="connsiteY324" fmla="*/ 3183972 h 13998542"/>
              <a:gd name="connsiteX325" fmla="*/ 5623735 w 11460104"/>
              <a:gd name="connsiteY325" fmla="*/ 3185921 h 13998542"/>
              <a:gd name="connsiteX326" fmla="*/ 5622651 w 11460104"/>
              <a:gd name="connsiteY326" fmla="*/ 3179996 h 13998542"/>
              <a:gd name="connsiteX327" fmla="*/ 5607781 w 11460104"/>
              <a:gd name="connsiteY327" fmla="*/ 3085753 h 13998542"/>
              <a:gd name="connsiteX328" fmla="*/ 5617013 w 11460104"/>
              <a:gd name="connsiteY328" fmla="*/ 3079050 h 13998542"/>
              <a:gd name="connsiteX329" fmla="*/ 5630254 w 11460104"/>
              <a:gd name="connsiteY329" fmla="*/ 3078855 h 13998542"/>
              <a:gd name="connsiteX330" fmla="*/ 5630254 w 11460104"/>
              <a:gd name="connsiteY330" fmla="*/ 3078880 h 13998542"/>
              <a:gd name="connsiteX331" fmla="*/ 5629945 w 11460104"/>
              <a:gd name="connsiteY331" fmla="*/ 3097200 h 13998542"/>
              <a:gd name="connsiteX332" fmla="*/ 5615328 w 11460104"/>
              <a:gd name="connsiteY332" fmla="*/ 3117115 h 13998542"/>
              <a:gd name="connsiteX333" fmla="*/ 5615395 w 11460104"/>
              <a:gd name="connsiteY333" fmla="*/ 3117689 h 13998542"/>
              <a:gd name="connsiteX334" fmla="*/ 5614277 w 11460104"/>
              <a:gd name="connsiteY334" fmla="*/ 3115560 h 13998542"/>
              <a:gd name="connsiteX335" fmla="*/ 5601773 w 11460104"/>
              <a:gd name="connsiteY335" fmla="*/ 3105034 h 13998542"/>
              <a:gd name="connsiteX336" fmla="*/ 5607781 w 11460104"/>
              <a:gd name="connsiteY336" fmla="*/ 3085753 h 13998542"/>
              <a:gd name="connsiteX337" fmla="*/ 5629489 w 11460104"/>
              <a:gd name="connsiteY337" fmla="*/ 3018095 h 13998542"/>
              <a:gd name="connsiteX338" fmla="*/ 5629729 w 11460104"/>
              <a:gd name="connsiteY338" fmla="*/ 3017668 h 13998542"/>
              <a:gd name="connsiteX339" fmla="*/ 5637202 w 11460104"/>
              <a:gd name="connsiteY339" fmla="*/ 3005047 h 13998542"/>
              <a:gd name="connsiteX340" fmla="*/ 5666379 w 11460104"/>
              <a:gd name="connsiteY340" fmla="*/ 2999784 h 13998542"/>
              <a:gd name="connsiteX341" fmla="*/ 5670547 w 11460104"/>
              <a:gd name="connsiteY341" fmla="*/ 3031359 h 13998542"/>
              <a:gd name="connsiteX342" fmla="*/ 5664295 w 11460104"/>
              <a:gd name="connsiteY342" fmla="*/ 3062934 h 13998542"/>
              <a:gd name="connsiteX343" fmla="*/ 5639286 w 11460104"/>
              <a:gd name="connsiteY343" fmla="*/ 3078722 h 13998542"/>
              <a:gd name="connsiteX344" fmla="*/ 5630254 w 11460104"/>
              <a:gd name="connsiteY344" fmla="*/ 3078855 h 13998542"/>
              <a:gd name="connsiteX345" fmla="*/ 5630934 w 11460104"/>
              <a:gd name="connsiteY345" fmla="*/ 3038577 h 13998542"/>
              <a:gd name="connsiteX346" fmla="*/ 5630836 w 11460104"/>
              <a:gd name="connsiteY346" fmla="*/ 2745596 h 13998542"/>
              <a:gd name="connsiteX347" fmla="*/ 5631725 w 11460104"/>
              <a:gd name="connsiteY347" fmla="*/ 2745354 h 13998542"/>
              <a:gd name="connsiteX348" fmla="*/ 5630780 w 11460104"/>
              <a:gd name="connsiteY348" fmla="*/ 2747699 h 13998542"/>
              <a:gd name="connsiteX349" fmla="*/ 5636193 w 11460104"/>
              <a:gd name="connsiteY349" fmla="*/ 2734274 h 13998542"/>
              <a:gd name="connsiteX350" fmla="*/ 5644496 w 11460104"/>
              <a:gd name="connsiteY350" fmla="*/ 2727449 h 13998542"/>
              <a:gd name="connsiteX351" fmla="*/ 5657153 w 11460104"/>
              <a:gd name="connsiteY351" fmla="*/ 2726688 h 13998542"/>
              <a:gd name="connsiteX352" fmla="*/ 5656818 w 11460104"/>
              <a:gd name="connsiteY352" fmla="*/ 2728437 h 13998542"/>
              <a:gd name="connsiteX353" fmla="*/ 5644907 w 11460104"/>
              <a:gd name="connsiteY353" fmla="*/ 2741770 h 13998542"/>
              <a:gd name="connsiteX354" fmla="*/ 5631725 w 11460104"/>
              <a:gd name="connsiteY354" fmla="*/ 2745354 h 13998542"/>
              <a:gd name="connsiteX355" fmla="*/ 5581974 w 11460104"/>
              <a:gd name="connsiteY355" fmla="*/ 2823490 h 13998542"/>
              <a:gd name="connsiteX356" fmla="*/ 5614277 w 11460104"/>
              <a:gd name="connsiteY356" fmla="*/ 2810333 h 13998542"/>
              <a:gd name="connsiteX357" fmla="*/ 5628866 w 11460104"/>
              <a:gd name="connsiteY357" fmla="*/ 2752446 h 13998542"/>
              <a:gd name="connsiteX358" fmla="*/ 5630780 w 11460104"/>
              <a:gd name="connsiteY358" fmla="*/ 2747699 h 13998542"/>
              <a:gd name="connsiteX359" fmla="*/ 5629960 w 11460104"/>
              <a:gd name="connsiteY359" fmla="*/ 2778428 h 13998542"/>
              <a:gd name="connsiteX360" fmla="*/ 5658091 w 11460104"/>
              <a:gd name="connsiteY360" fmla="*/ 2823012 h 13998542"/>
              <a:gd name="connsiteX361" fmla="*/ 5585657 w 11460104"/>
              <a:gd name="connsiteY361" fmla="*/ 2850951 h 13998542"/>
              <a:gd name="connsiteX362" fmla="*/ 5626369 w 11460104"/>
              <a:gd name="connsiteY362" fmla="*/ 2960568 h 13998542"/>
              <a:gd name="connsiteX363" fmla="*/ 5629461 w 11460104"/>
              <a:gd name="connsiteY363" fmla="*/ 3017710 h 13998542"/>
              <a:gd name="connsiteX364" fmla="*/ 5629489 w 11460104"/>
              <a:gd name="connsiteY364" fmla="*/ 3018095 h 13998542"/>
              <a:gd name="connsiteX365" fmla="*/ 5626651 w 11460104"/>
              <a:gd name="connsiteY365" fmla="*/ 3023136 h 13998542"/>
              <a:gd name="connsiteX366" fmla="*/ 5618446 w 11460104"/>
              <a:gd name="connsiteY366" fmla="*/ 3031359 h 13998542"/>
              <a:gd name="connsiteX367" fmla="*/ 5595521 w 11460104"/>
              <a:gd name="connsiteY367" fmla="*/ 3026097 h 13998542"/>
              <a:gd name="connsiteX368" fmla="*/ 5620529 w 11460104"/>
              <a:gd name="connsiteY368" fmla="*/ 3010309 h 13998542"/>
              <a:gd name="connsiteX369" fmla="*/ 5608025 w 11460104"/>
              <a:gd name="connsiteY369" fmla="*/ 2968209 h 13998542"/>
              <a:gd name="connsiteX370" fmla="*/ 5585101 w 11460104"/>
              <a:gd name="connsiteY370" fmla="*/ 2926109 h 13998542"/>
              <a:gd name="connsiteX371" fmla="*/ 5574680 w 11460104"/>
              <a:gd name="connsiteY371" fmla="*/ 2899796 h 13998542"/>
              <a:gd name="connsiteX372" fmla="*/ 5581974 w 11460104"/>
              <a:gd name="connsiteY372" fmla="*/ 2823490 h 13998542"/>
              <a:gd name="connsiteX373" fmla="*/ 6051901 w 11460104"/>
              <a:gd name="connsiteY373" fmla="*/ 1818173 h 13998542"/>
              <a:gd name="connsiteX374" fmla="*/ 6053622 w 11460104"/>
              <a:gd name="connsiteY374" fmla="*/ 1820324 h 13998542"/>
              <a:gd name="connsiteX375" fmla="*/ 6060266 w 11460104"/>
              <a:gd name="connsiteY375" fmla="*/ 1831506 h 13998542"/>
              <a:gd name="connsiteX376" fmla="*/ 6053085 w 11460104"/>
              <a:gd name="connsiteY376" fmla="*/ 1821886 h 13998542"/>
              <a:gd name="connsiteX377" fmla="*/ 6055092 w 11460104"/>
              <a:gd name="connsiteY377" fmla="*/ 1779878 h 13998542"/>
              <a:gd name="connsiteX378" fmla="*/ 6058393 w 11460104"/>
              <a:gd name="connsiteY378" fmla="*/ 1782499 h 13998542"/>
              <a:gd name="connsiteX379" fmla="*/ 6066518 w 11460104"/>
              <a:gd name="connsiteY379" fmla="*/ 1789406 h 13998542"/>
              <a:gd name="connsiteX380" fmla="*/ 6072770 w 11460104"/>
              <a:gd name="connsiteY380" fmla="*/ 1794669 h 13998542"/>
              <a:gd name="connsiteX381" fmla="*/ 6076938 w 11460104"/>
              <a:gd name="connsiteY381" fmla="*/ 1810456 h 13998542"/>
              <a:gd name="connsiteX382" fmla="*/ 6062219 w 11460104"/>
              <a:gd name="connsiteY382" fmla="*/ 1795326 h 13998542"/>
              <a:gd name="connsiteX383" fmla="*/ 5664564 w 11460104"/>
              <a:gd name="connsiteY383" fmla="*/ 1313854 h 13998542"/>
              <a:gd name="connsiteX384" fmla="*/ 5677467 w 11460104"/>
              <a:gd name="connsiteY384" fmla="*/ 1300772 h 13998542"/>
              <a:gd name="connsiteX385" fmla="*/ 5689015 w 11460104"/>
              <a:gd name="connsiteY385" fmla="*/ 1305200 h 13998542"/>
              <a:gd name="connsiteX386" fmla="*/ 5689613 w 11460104"/>
              <a:gd name="connsiteY386" fmla="*/ 1308860 h 13998542"/>
              <a:gd name="connsiteX387" fmla="*/ 5689606 w 11460104"/>
              <a:gd name="connsiteY387" fmla="*/ 1317781 h 13998542"/>
              <a:gd name="connsiteX388" fmla="*/ 5687002 w 11460104"/>
              <a:gd name="connsiteY388" fmla="*/ 1318681 h 13998542"/>
              <a:gd name="connsiteX389" fmla="*/ 5618421 w 11460104"/>
              <a:gd name="connsiteY389" fmla="*/ 1307047 h 13998542"/>
              <a:gd name="connsiteX390" fmla="*/ 5654752 w 11460104"/>
              <a:gd name="connsiteY390" fmla="*/ 1311743 h 13998542"/>
              <a:gd name="connsiteX391" fmla="*/ 5664564 w 11460104"/>
              <a:gd name="connsiteY391" fmla="*/ 1313854 h 13998542"/>
              <a:gd name="connsiteX392" fmla="*/ 5664026 w 11460104"/>
              <a:gd name="connsiteY392" fmla="*/ 1314400 h 13998542"/>
              <a:gd name="connsiteX393" fmla="*/ 5639101 w 11460104"/>
              <a:gd name="connsiteY393" fmla="*/ 1326039 h 13998542"/>
              <a:gd name="connsiteX394" fmla="*/ 5609357 w 11460104"/>
              <a:gd name="connsiteY394" fmla="*/ 1346349 h 13998542"/>
              <a:gd name="connsiteX395" fmla="*/ 5618421 w 11460104"/>
              <a:gd name="connsiteY395" fmla="*/ 1307047 h 13998542"/>
              <a:gd name="connsiteX396" fmla="*/ 5312922 w 11460104"/>
              <a:gd name="connsiteY396" fmla="*/ 527242 h 13998542"/>
              <a:gd name="connsiteX397" fmla="*/ 5313796 w 11460104"/>
              <a:gd name="connsiteY397" fmla="*/ 527970 h 13998542"/>
              <a:gd name="connsiteX398" fmla="*/ 5313411 w 11460104"/>
              <a:gd name="connsiteY398" fmla="*/ 529367 h 13998542"/>
              <a:gd name="connsiteX399" fmla="*/ 5311215 w 11460104"/>
              <a:gd name="connsiteY399" fmla="*/ 533432 h 13998542"/>
              <a:gd name="connsiteX400" fmla="*/ 5295784 w 11460104"/>
              <a:gd name="connsiteY400" fmla="*/ 547224 h 13998542"/>
              <a:gd name="connsiteX401" fmla="*/ 5308786 w 11460104"/>
              <a:gd name="connsiteY401" fmla="*/ 537931 h 13998542"/>
              <a:gd name="connsiteX402" fmla="*/ 5311215 w 11460104"/>
              <a:gd name="connsiteY402" fmla="*/ 533432 h 13998542"/>
              <a:gd name="connsiteX403" fmla="*/ 5308133 w 11460104"/>
              <a:gd name="connsiteY403" fmla="*/ 544611 h 13998542"/>
              <a:gd name="connsiteX404" fmla="*/ 5295784 w 11460104"/>
              <a:gd name="connsiteY404" fmla="*/ 547224 h 13998542"/>
              <a:gd name="connsiteX405" fmla="*/ 5189290 w 11460104"/>
              <a:gd name="connsiteY405" fmla="*/ 624665 h 13998542"/>
              <a:gd name="connsiteX406" fmla="*/ 5191442 w 11460104"/>
              <a:gd name="connsiteY406" fmla="*/ 627269 h 13998542"/>
              <a:gd name="connsiteX407" fmla="*/ 5199840 w 11460104"/>
              <a:gd name="connsiteY407" fmla="*/ 640885 h 13998542"/>
              <a:gd name="connsiteX408" fmla="*/ 5190842 w 11460104"/>
              <a:gd name="connsiteY408" fmla="*/ 629217 h 13998542"/>
              <a:gd name="connsiteX409" fmla="*/ 5191911 w 11460104"/>
              <a:gd name="connsiteY409" fmla="*/ 577218 h 13998542"/>
              <a:gd name="connsiteX410" fmla="*/ 5195989 w 11460104"/>
              <a:gd name="connsiteY410" fmla="*/ 580353 h 13998542"/>
              <a:gd name="connsiteX411" fmla="*/ 5206041 w 11460104"/>
              <a:gd name="connsiteY411" fmla="*/ 588636 h 13998542"/>
              <a:gd name="connsiteX412" fmla="*/ 5213775 w 11460104"/>
              <a:gd name="connsiteY412" fmla="*/ 594944 h 13998542"/>
              <a:gd name="connsiteX413" fmla="*/ 5219328 w 11460104"/>
              <a:gd name="connsiteY413" fmla="*/ 614332 h 13998542"/>
              <a:gd name="connsiteX414" fmla="*/ 5201033 w 11460104"/>
              <a:gd name="connsiteY414" fmla="*/ 596091 h 13998542"/>
              <a:gd name="connsiteX415" fmla="*/ 4877413 w 11460104"/>
              <a:gd name="connsiteY415" fmla="*/ 853189 h 13998542"/>
              <a:gd name="connsiteX416" fmla="*/ 4878722 w 11460104"/>
              <a:gd name="connsiteY416" fmla="*/ 903206 h 13998542"/>
              <a:gd name="connsiteX417" fmla="*/ 4926350 w 11460104"/>
              <a:gd name="connsiteY417" fmla="*/ 1084260 h 13998542"/>
              <a:gd name="connsiteX418" fmla="*/ 4890339 w 11460104"/>
              <a:gd name="connsiteY418" fmla="*/ 961499 h 13998542"/>
              <a:gd name="connsiteX419" fmla="*/ 4851839 w 11460104"/>
              <a:gd name="connsiteY419" fmla="*/ 936464 h 13998542"/>
              <a:gd name="connsiteX420" fmla="*/ 4842671 w 11460104"/>
              <a:gd name="connsiteY420" fmla="*/ 1164580 h 13998542"/>
              <a:gd name="connsiteX421" fmla="*/ 4810406 w 11460104"/>
              <a:gd name="connsiteY421" fmla="*/ 1184956 h 13998542"/>
              <a:gd name="connsiteX422" fmla="*/ 4812449 w 11460104"/>
              <a:gd name="connsiteY422" fmla="*/ 1263032 h 13998542"/>
              <a:gd name="connsiteX423" fmla="*/ 4788737 w 11460104"/>
              <a:gd name="connsiteY423" fmla="*/ 1224588 h 13998542"/>
              <a:gd name="connsiteX424" fmla="*/ 4763387 w 11460104"/>
              <a:gd name="connsiteY424" fmla="*/ 1316401 h 13998542"/>
              <a:gd name="connsiteX425" fmla="*/ 4740388 w 11460104"/>
              <a:gd name="connsiteY425" fmla="*/ 1401642 h 13998542"/>
              <a:gd name="connsiteX426" fmla="*/ 4742432 w 11460104"/>
              <a:gd name="connsiteY426" fmla="*/ 1479718 h 13998542"/>
              <a:gd name="connsiteX427" fmla="*/ 4758240 w 11460104"/>
              <a:gd name="connsiteY427" fmla="*/ 1505347 h 13998542"/>
              <a:gd name="connsiteX428" fmla="*/ 4776059 w 11460104"/>
              <a:gd name="connsiteY428" fmla="*/ 1511391 h 13998542"/>
              <a:gd name="connsiteX429" fmla="*/ 4795547 w 11460104"/>
              <a:gd name="connsiteY429" fmla="*/ 1484839 h 13998542"/>
              <a:gd name="connsiteX430" fmla="*/ 4784984 w 11460104"/>
              <a:gd name="connsiteY430" fmla="*/ 1563244 h 13998542"/>
              <a:gd name="connsiteX431" fmla="*/ 4773943 w 11460104"/>
              <a:gd name="connsiteY431" fmla="*/ 1719791 h 13998542"/>
              <a:gd name="connsiteX432" fmla="*/ 4773249 w 11460104"/>
              <a:gd name="connsiteY432" fmla="*/ 1693255 h 13998542"/>
              <a:gd name="connsiteX433" fmla="*/ 4773366 w 11460104"/>
              <a:gd name="connsiteY433" fmla="*/ 1691729 h 13998542"/>
              <a:gd name="connsiteX434" fmla="*/ 4772581 w 11460104"/>
              <a:gd name="connsiteY434" fmla="*/ 1667741 h 13998542"/>
              <a:gd name="connsiteX435" fmla="*/ 4773249 w 11460104"/>
              <a:gd name="connsiteY435" fmla="*/ 1693255 h 13998542"/>
              <a:gd name="connsiteX436" fmla="*/ 4772851 w 11460104"/>
              <a:gd name="connsiteY436" fmla="*/ 1698405 h 13998542"/>
              <a:gd name="connsiteX437" fmla="*/ 4771252 w 11460104"/>
              <a:gd name="connsiteY437" fmla="*/ 1713350 h 13998542"/>
              <a:gd name="connsiteX438" fmla="*/ 4752274 w 11460104"/>
              <a:gd name="connsiteY438" fmla="*/ 1759423 h 13998542"/>
              <a:gd name="connsiteX439" fmla="*/ 4707743 w 11460104"/>
              <a:gd name="connsiteY439" fmla="*/ 1793141 h 13998542"/>
              <a:gd name="connsiteX440" fmla="*/ 4691967 w 11460104"/>
              <a:gd name="connsiteY440" fmla="*/ 1865172 h 13998542"/>
              <a:gd name="connsiteX441" fmla="*/ 4646959 w 11460104"/>
              <a:gd name="connsiteY441" fmla="*/ 1977032 h 13998542"/>
              <a:gd name="connsiteX442" fmla="*/ 4660416 w 11460104"/>
              <a:gd name="connsiteY442" fmla="*/ 2009234 h 13998542"/>
              <a:gd name="connsiteX443" fmla="*/ 4689512 w 11460104"/>
              <a:gd name="connsiteY443" fmla="*/ 2060559 h 13998542"/>
              <a:gd name="connsiteX444" fmla="*/ 4706001 w 11460104"/>
              <a:gd name="connsiteY444" fmla="*/ 2112213 h 13998542"/>
              <a:gd name="connsiteX445" fmla="*/ 4676257 w 11460104"/>
              <a:gd name="connsiteY445" fmla="*/ 2132524 h 13998542"/>
              <a:gd name="connsiteX446" fmla="*/ 4704161 w 11460104"/>
              <a:gd name="connsiteY446" fmla="*/ 2138305 h 13998542"/>
              <a:gd name="connsiteX447" fmla="*/ 4726001 w 11460104"/>
              <a:gd name="connsiteY447" fmla="*/ 2105179 h 13998542"/>
              <a:gd name="connsiteX448" fmla="*/ 4761127 w 11460104"/>
              <a:gd name="connsiteY448" fmla="*/ 2097749 h 13998542"/>
              <a:gd name="connsiteX449" fmla="*/ 4767191 w 11460104"/>
              <a:gd name="connsiteY449" fmla="*/ 2136655 h 13998542"/>
              <a:gd name="connsiteX450" fmla="*/ 4760649 w 11460104"/>
              <a:gd name="connsiteY450" fmla="*/ 2175891 h 13998542"/>
              <a:gd name="connsiteX451" fmla="*/ 4730905 w 11460104"/>
              <a:gd name="connsiteY451" fmla="*/ 2196201 h 13998542"/>
              <a:gd name="connsiteX452" fmla="*/ 4686374 w 11460104"/>
              <a:gd name="connsiteY452" fmla="*/ 2229920 h 13998542"/>
              <a:gd name="connsiteX453" fmla="*/ 4701843 w 11460104"/>
              <a:gd name="connsiteY453" fmla="*/ 2242536 h 13998542"/>
              <a:gd name="connsiteX454" fmla="*/ 4734311 w 11460104"/>
              <a:gd name="connsiteY454" fmla="*/ 2326327 h 13998542"/>
              <a:gd name="connsiteX455" fmla="*/ 4715162 w 11460104"/>
              <a:gd name="connsiteY455" fmla="*/ 2365892 h 13998542"/>
              <a:gd name="connsiteX456" fmla="*/ 4742247 w 11460104"/>
              <a:gd name="connsiteY456" fmla="*/ 2436802 h 13998542"/>
              <a:gd name="connsiteX457" fmla="*/ 4769981 w 11460104"/>
              <a:gd name="connsiteY457" fmla="*/ 2436076 h 13998542"/>
              <a:gd name="connsiteX458" fmla="*/ 4842074 w 11460104"/>
              <a:gd name="connsiteY458" fmla="*/ 2395125 h 13998542"/>
              <a:gd name="connsiteX459" fmla="*/ 4904627 w 11460104"/>
              <a:gd name="connsiteY459" fmla="*/ 2471617 h 13998542"/>
              <a:gd name="connsiteX460" fmla="*/ 4920435 w 11460104"/>
              <a:gd name="connsiteY460" fmla="*/ 2497246 h 13998542"/>
              <a:gd name="connsiteX461" fmla="*/ 4924829 w 11460104"/>
              <a:gd name="connsiteY461" fmla="*/ 2568750 h 13998542"/>
              <a:gd name="connsiteX462" fmla="*/ 4930893 w 11460104"/>
              <a:gd name="connsiteY462" fmla="*/ 2607655 h 13998542"/>
              <a:gd name="connsiteX463" fmla="*/ 4953617 w 11460104"/>
              <a:gd name="connsiteY463" fmla="*/ 2704722 h 13998542"/>
              <a:gd name="connsiteX464" fmla="*/ 4968842 w 11460104"/>
              <a:gd name="connsiteY464" fmla="*/ 2997307 h 13998542"/>
              <a:gd name="connsiteX465" fmla="*/ 4980459 w 11460104"/>
              <a:gd name="connsiteY465" fmla="*/ 3055599 h 13998542"/>
              <a:gd name="connsiteX466" fmla="*/ 4998481 w 11460104"/>
              <a:gd name="connsiteY466" fmla="*/ 3165810 h 13998542"/>
              <a:gd name="connsiteX467" fmla="*/ 5027576 w 11460104"/>
              <a:gd name="connsiteY467" fmla="*/ 3217135 h 13998542"/>
              <a:gd name="connsiteX468" fmla="*/ 5064406 w 11460104"/>
              <a:gd name="connsiteY468" fmla="*/ 3274768 h 13998542"/>
              <a:gd name="connsiteX469" fmla="*/ 5083927 w 11460104"/>
              <a:gd name="connsiteY469" fmla="*/ 3345875 h 13998542"/>
              <a:gd name="connsiteX470" fmla="*/ 5035343 w 11460104"/>
              <a:gd name="connsiteY470" fmla="*/ 3321103 h 13998542"/>
              <a:gd name="connsiteX471" fmla="*/ 5032036 w 11460104"/>
              <a:gd name="connsiteY471" fmla="*/ 3483958 h 13998542"/>
              <a:gd name="connsiteX472" fmla="*/ 5051420 w 11460104"/>
              <a:gd name="connsiteY472" fmla="*/ 3646219 h 13998542"/>
              <a:gd name="connsiteX473" fmla="*/ 5051518 w 11460104"/>
              <a:gd name="connsiteY473" fmla="*/ 3939200 h 13998542"/>
              <a:gd name="connsiteX474" fmla="*/ 5063135 w 11460104"/>
              <a:gd name="connsiteY474" fmla="*/ 3997493 h 13998542"/>
              <a:gd name="connsiteX475" fmla="*/ 5091242 w 11460104"/>
              <a:gd name="connsiteY475" fmla="*/ 4107440 h 13998542"/>
              <a:gd name="connsiteX476" fmla="*/ 5102210 w 11460104"/>
              <a:gd name="connsiteY476" fmla="*/ 4237368 h 13998542"/>
              <a:gd name="connsiteX477" fmla="*/ 5124764 w 11460104"/>
              <a:gd name="connsiteY477" fmla="*/ 4327928 h 13998542"/>
              <a:gd name="connsiteX478" fmla="*/ 5147998 w 11460104"/>
              <a:gd name="connsiteY478" fmla="*/ 4444513 h 13998542"/>
              <a:gd name="connsiteX479" fmla="*/ 5161456 w 11460104"/>
              <a:gd name="connsiteY479" fmla="*/ 4476715 h 13998542"/>
              <a:gd name="connsiteX480" fmla="*/ 5177264 w 11460104"/>
              <a:gd name="connsiteY480" fmla="*/ 4502344 h 13998542"/>
              <a:gd name="connsiteX481" fmla="*/ 5216785 w 11460104"/>
              <a:gd name="connsiteY481" fmla="*/ 4566417 h 13998542"/>
              <a:gd name="connsiteX482" fmla="*/ 5267720 w 11460104"/>
              <a:gd name="connsiteY482" fmla="*/ 4584617 h 13998542"/>
              <a:gd name="connsiteX483" fmla="*/ 5282612 w 11460104"/>
              <a:gd name="connsiteY483" fmla="*/ 4382394 h 13998542"/>
              <a:gd name="connsiteX484" fmla="*/ 5286633 w 11460104"/>
              <a:gd name="connsiteY484" fmla="*/ 4343225 h 13998542"/>
              <a:gd name="connsiteX485" fmla="*/ 5285611 w 11460104"/>
              <a:gd name="connsiteY485" fmla="*/ 4304187 h 13998542"/>
              <a:gd name="connsiteX486" fmla="*/ 5316789 w 11460104"/>
              <a:gd name="connsiteY486" fmla="*/ 4049452 h 13998542"/>
              <a:gd name="connsiteX487" fmla="*/ 5344012 w 11460104"/>
              <a:gd name="connsiteY487" fmla="*/ 4029207 h 13998542"/>
              <a:gd name="connsiteX488" fmla="*/ 5387691 w 11460104"/>
              <a:gd name="connsiteY488" fmla="*/ 3962957 h 13998542"/>
              <a:gd name="connsiteX489" fmla="*/ 5415903 w 11460104"/>
              <a:gd name="connsiteY489" fmla="*/ 3884090 h 13998542"/>
              <a:gd name="connsiteX490" fmla="*/ 5446092 w 11460104"/>
              <a:gd name="connsiteY490" fmla="*/ 3687977 h 13998542"/>
              <a:gd name="connsiteX491" fmla="*/ 5467931 w 11460104"/>
              <a:gd name="connsiteY491" fmla="*/ 3654853 h 13998542"/>
              <a:gd name="connsiteX492" fmla="*/ 5559684 w 11460104"/>
              <a:gd name="connsiteY492" fmla="*/ 3593855 h 13998542"/>
              <a:gd name="connsiteX493" fmla="*/ 5583364 w 11460104"/>
              <a:gd name="connsiteY493" fmla="*/ 3534639 h 13998542"/>
              <a:gd name="connsiteX494" fmla="*/ 5611406 w 11460104"/>
              <a:gd name="connsiteY494" fmla="*/ 3449265 h 13998542"/>
              <a:gd name="connsiteX495" fmla="*/ 5625171 w 11460104"/>
              <a:gd name="connsiteY495" fmla="*/ 3396819 h 13998542"/>
              <a:gd name="connsiteX496" fmla="*/ 5562926 w 11460104"/>
              <a:gd name="connsiteY496" fmla="*/ 3235679 h 13998542"/>
              <a:gd name="connsiteX497" fmla="*/ 5587150 w 11460104"/>
              <a:gd name="connsiteY497" fmla="*/ 3293641 h 13998542"/>
              <a:gd name="connsiteX498" fmla="*/ 5611032 w 11460104"/>
              <a:gd name="connsiteY498" fmla="*/ 3338592 h 13998542"/>
              <a:gd name="connsiteX499" fmla="*/ 5639754 w 11460104"/>
              <a:gd name="connsiteY499" fmla="*/ 3279244 h 13998542"/>
              <a:gd name="connsiteX500" fmla="*/ 5637796 w 11460104"/>
              <a:gd name="connsiteY500" fmla="*/ 3264646 h 13998542"/>
              <a:gd name="connsiteX501" fmla="*/ 5633701 w 11460104"/>
              <a:gd name="connsiteY501" fmla="*/ 3240399 h 13998542"/>
              <a:gd name="connsiteX502" fmla="*/ 5634206 w 11460104"/>
              <a:gd name="connsiteY502" fmla="*/ 3241531 h 13998542"/>
              <a:gd name="connsiteX503" fmla="*/ 5643454 w 11460104"/>
              <a:gd name="connsiteY503" fmla="*/ 3273435 h 13998542"/>
              <a:gd name="connsiteX504" fmla="*/ 5666379 w 11460104"/>
              <a:gd name="connsiteY504" fmla="*/ 3273434 h 13998542"/>
              <a:gd name="connsiteX505" fmla="*/ 5726817 w 11460104"/>
              <a:gd name="connsiteY505" fmla="*/ 3241859 h 13998542"/>
              <a:gd name="connsiteX506" fmla="*/ 5776834 w 11460104"/>
              <a:gd name="connsiteY506" fmla="*/ 3305010 h 13998542"/>
              <a:gd name="connsiteX507" fmla="*/ 5789338 w 11460104"/>
              <a:gd name="connsiteY507" fmla="*/ 3326059 h 13998542"/>
              <a:gd name="connsiteX508" fmla="*/ 5791422 w 11460104"/>
              <a:gd name="connsiteY508" fmla="*/ 3383947 h 13998542"/>
              <a:gd name="connsiteX509" fmla="*/ 5795590 w 11460104"/>
              <a:gd name="connsiteY509" fmla="*/ 3415523 h 13998542"/>
              <a:gd name="connsiteX510" fmla="*/ 5812263 w 11460104"/>
              <a:gd name="connsiteY510" fmla="*/ 3494460 h 13998542"/>
              <a:gd name="connsiteX511" fmla="*/ 5818515 w 11460104"/>
              <a:gd name="connsiteY511" fmla="*/ 3731273 h 13998542"/>
              <a:gd name="connsiteX512" fmla="*/ 5826851 w 11460104"/>
              <a:gd name="connsiteY512" fmla="*/ 3778636 h 13998542"/>
              <a:gd name="connsiteX513" fmla="*/ 5839355 w 11460104"/>
              <a:gd name="connsiteY513" fmla="*/ 3868098 h 13998542"/>
              <a:gd name="connsiteX514" fmla="*/ 5862280 w 11460104"/>
              <a:gd name="connsiteY514" fmla="*/ 3910199 h 13998542"/>
              <a:gd name="connsiteX515" fmla="*/ 5891457 w 11460104"/>
              <a:gd name="connsiteY515" fmla="*/ 3957561 h 13998542"/>
              <a:gd name="connsiteX516" fmla="*/ 5906045 w 11460104"/>
              <a:gd name="connsiteY516" fmla="*/ 4015449 h 13998542"/>
              <a:gd name="connsiteX517" fmla="*/ 5866448 w 11460104"/>
              <a:gd name="connsiteY517" fmla="*/ 3994399 h 13998542"/>
              <a:gd name="connsiteX518" fmla="*/ 5860196 w 11460104"/>
              <a:gd name="connsiteY518" fmla="*/ 4125962 h 13998542"/>
              <a:gd name="connsiteX519" fmla="*/ 5872700 w 11460104"/>
              <a:gd name="connsiteY519" fmla="*/ 4257525 h 13998542"/>
              <a:gd name="connsiteX520" fmla="*/ 5866448 w 11460104"/>
              <a:gd name="connsiteY520" fmla="*/ 4494337 h 13998542"/>
              <a:gd name="connsiteX521" fmla="*/ 5874784 w 11460104"/>
              <a:gd name="connsiteY521" fmla="*/ 4541700 h 13998542"/>
              <a:gd name="connsiteX522" fmla="*/ 5895625 w 11460104"/>
              <a:gd name="connsiteY522" fmla="*/ 4631163 h 13998542"/>
              <a:gd name="connsiteX523" fmla="*/ 5901877 w 11460104"/>
              <a:gd name="connsiteY523" fmla="*/ 4736413 h 13998542"/>
              <a:gd name="connsiteX524" fmla="*/ 5918549 w 11460104"/>
              <a:gd name="connsiteY524" fmla="*/ 4810088 h 13998542"/>
              <a:gd name="connsiteX525" fmla="*/ 5935222 w 11460104"/>
              <a:gd name="connsiteY525" fmla="*/ 4904813 h 13998542"/>
              <a:gd name="connsiteX526" fmla="*/ 5945642 w 11460104"/>
              <a:gd name="connsiteY526" fmla="*/ 4931126 h 13998542"/>
              <a:gd name="connsiteX527" fmla="*/ 5958146 w 11460104"/>
              <a:gd name="connsiteY527" fmla="*/ 4952176 h 13998542"/>
              <a:gd name="connsiteX528" fmla="*/ 5989408 w 11460104"/>
              <a:gd name="connsiteY528" fmla="*/ 5004801 h 13998542"/>
              <a:gd name="connsiteX529" fmla="*/ 6031089 w 11460104"/>
              <a:gd name="connsiteY529" fmla="*/ 5020589 h 13998542"/>
              <a:gd name="connsiteX530" fmla="*/ 6047761 w 11460104"/>
              <a:gd name="connsiteY530" fmla="*/ 4857451 h 13998542"/>
              <a:gd name="connsiteX531" fmla="*/ 6051929 w 11460104"/>
              <a:gd name="connsiteY531" fmla="*/ 4825876 h 13998542"/>
              <a:gd name="connsiteX532" fmla="*/ 6051930 w 11460104"/>
              <a:gd name="connsiteY532" fmla="*/ 4794301 h 13998542"/>
              <a:gd name="connsiteX533" fmla="*/ 6083190 w 11460104"/>
              <a:gd name="connsiteY533" fmla="*/ 4589062 h 13998542"/>
              <a:gd name="connsiteX534" fmla="*/ 6106114 w 11460104"/>
              <a:gd name="connsiteY534" fmla="*/ 4573275 h 13998542"/>
              <a:gd name="connsiteX535" fmla="*/ 6143627 w 11460104"/>
              <a:gd name="connsiteY535" fmla="*/ 4520650 h 13998542"/>
              <a:gd name="connsiteX536" fmla="*/ 6168636 w 11460104"/>
              <a:gd name="connsiteY536" fmla="*/ 4457500 h 13998542"/>
              <a:gd name="connsiteX537" fmla="*/ 6197813 w 11460104"/>
              <a:gd name="connsiteY537" fmla="*/ 4299625 h 13998542"/>
              <a:gd name="connsiteX538" fmla="*/ 6216570 w 11460104"/>
              <a:gd name="connsiteY538" fmla="*/ 4273312 h 13998542"/>
              <a:gd name="connsiteX539" fmla="*/ 6293680 w 11460104"/>
              <a:gd name="connsiteY539" fmla="*/ 4225950 h 13998542"/>
              <a:gd name="connsiteX540" fmla="*/ 6314520 w 11460104"/>
              <a:gd name="connsiteY540" fmla="*/ 4178586 h 13998542"/>
              <a:gd name="connsiteX541" fmla="*/ 6339529 w 11460104"/>
              <a:gd name="connsiteY541" fmla="*/ 4110174 h 13998542"/>
              <a:gd name="connsiteX542" fmla="*/ 6352033 w 11460104"/>
              <a:gd name="connsiteY542" fmla="*/ 4068074 h 13998542"/>
              <a:gd name="connsiteX543" fmla="*/ 6304100 w 11460104"/>
              <a:gd name="connsiteY543" fmla="*/ 3936511 h 13998542"/>
              <a:gd name="connsiteX544" fmla="*/ 6322857 w 11460104"/>
              <a:gd name="connsiteY544" fmla="*/ 3983874 h 13998542"/>
              <a:gd name="connsiteX545" fmla="*/ 6341613 w 11460104"/>
              <a:gd name="connsiteY545" fmla="*/ 4020711 h 13998542"/>
              <a:gd name="connsiteX546" fmla="*/ 6366622 w 11460104"/>
              <a:gd name="connsiteY546" fmla="*/ 3973349 h 13998542"/>
              <a:gd name="connsiteX547" fmla="*/ 6362454 w 11460104"/>
              <a:gd name="connsiteY547" fmla="*/ 3941774 h 13998542"/>
              <a:gd name="connsiteX548" fmla="*/ 6349950 w 11460104"/>
              <a:gd name="connsiteY548" fmla="*/ 3841786 h 13998542"/>
              <a:gd name="connsiteX549" fmla="*/ 6362454 w 11460104"/>
              <a:gd name="connsiteY549" fmla="*/ 3825998 h 13998542"/>
              <a:gd name="connsiteX550" fmla="*/ 6364538 w 11460104"/>
              <a:gd name="connsiteY550" fmla="*/ 3778636 h 13998542"/>
              <a:gd name="connsiteX551" fmla="*/ 6362453 w 11460104"/>
              <a:gd name="connsiteY551" fmla="*/ 3715486 h 13998542"/>
              <a:gd name="connsiteX552" fmla="*/ 6331193 w 11460104"/>
              <a:gd name="connsiteY552" fmla="*/ 3626023 h 13998542"/>
              <a:gd name="connsiteX553" fmla="*/ 6391630 w 11460104"/>
              <a:gd name="connsiteY553" fmla="*/ 3604973 h 13998542"/>
              <a:gd name="connsiteX554" fmla="*/ 6370790 w 11460104"/>
              <a:gd name="connsiteY554" fmla="*/ 3541822 h 13998542"/>
              <a:gd name="connsiteX555" fmla="*/ 6397882 w 11460104"/>
              <a:gd name="connsiteY555" fmla="*/ 3504986 h 13998542"/>
              <a:gd name="connsiteX556" fmla="*/ 6406219 w 11460104"/>
              <a:gd name="connsiteY556" fmla="*/ 3473410 h 13998542"/>
              <a:gd name="connsiteX557" fmla="*/ 6362454 w 11460104"/>
              <a:gd name="connsiteY557" fmla="*/ 3341847 h 13998542"/>
              <a:gd name="connsiteX558" fmla="*/ 6374958 w 11460104"/>
              <a:gd name="connsiteY558" fmla="*/ 3394472 h 13998542"/>
              <a:gd name="connsiteX559" fmla="*/ 6399967 w 11460104"/>
              <a:gd name="connsiteY559" fmla="*/ 3310272 h 13998542"/>
              <a:gd name="connsiteX560" fmla="*/ 6395798 w 11460104"/>
              <a:gd name="connsiteY560" fmla="*/ 3278697 h 13998542"/>
              <a:gd name="connsiteX561" fmla="*/ 6389546 w 11460104"/>
              <a:gd name="connsiteY561" fmla="*/ 3241860 h 13998542"/>
              <a:gd name="connsiteX562" fmla="*/ 6358286 w 11460104"/>
              <a:gd name="connsiteY562" fmla="*/ 3178709 h 13998542"/>
              <a:gd name="connsiteX563" fmla="*/ 6362454 w 11460104"/>
              <a:gd name="connsiteY563" fmla="*/ 3131347 h 13998542"/>
              <a:gd name="connsiteX564" fmla="*/ 6414555 w 11460104"/>
              <a:gd name="connsiteY564" fmla="*/ 3073459 h 13998542"/>
              <a:gd name="connsiteX565" fmla="*/ 6368706 w 11460104"/>
              <a:gd name="connsiteY565" fmla="*/ 2899796 h 13998542"/>
              <a:gd name="connsiteX566" fmla="*/ 6374958 w 11460104"/>
              <a:gd name="connsiteY566" fmla="*/ 2778759 h 13998542"/>
              <a:gd name="connsiteX567" fmla="*/ 6402051 w 11460104"/>
              <a:gd name="connsiteY567" fmla="*/ 2789284 h 13998542"/>
              <a:gd name="connsiteX568" fmla="*/ 6399967 w 11460104"/>
              <a:gd name="connsiteY568" fmla="*/ 2662983 h 13998542"/>
              <a:gd name="connsiteX569" fmla="*/ 6397883 w 11460104"/>
              <a:gd name="connsiteY569" fmla="*/ 2562995 h 13998542"/>
              <a:gd name="connsiteX570" fmla="*/ 6404135 w 11460104"/>
              <a:gd name="connsiteY570" fmla="*/ 2573520 h 13998542"/>
              <a:gd name="connsiteX571" fmla="*/ 6422891 w 11460104"/>
              <a:gd name="connsiteY571" fmla="*/ 2578783 h 13998542"/>
              <a:gd name="connsiteX572" fmla="*/ 6433312 w 11460104"/>
              <a:gd name="connsiteY572" fmla="*/ 2520896 h 13998542"/>
              <a:gd name="connsiteX573" fmla="*/ 6395799 w 11460104"/>
              <a:gd name="connsiteY573" fmla="*/ 2510370 h 13998542"/>
              <a:gd name="connsiteX574" fmla="*/ 6397883 w 11460104"/>
              <a:gd name="connsiteY574" fmla="*/ 2473533 h 13998542"/>
              <a:gd name="connsiteX575" fmla="*/ 6443732 w 11460104"/>
              <a:gd name="connsiteY575" fmla="*/ 2463008 h 13998542"/>
              <a:gd name="connsiteX576" fmla="*/ 6450180 w 11460104"/>
              <a:gd name="connsiteY576" fmla="*/ 2389744 h 13998542"/>
              <a:gd name="connsiteX577" fmla="*/ 6450166 w 11460104"/>
              <a:gd name="connsiteY577" fmla="*/ 2389000 h 13998542"/>
              <a:gd name="connsiteX578" fmla="*/ 6458925 w 11460104"/>
              <a:gd name="connsiteY578" fmla="*/ 2386286 h 13998542"/>
              <a:gd name="connsiteX579" fmla="*/ 6477077 w 11460104"/>
              <a:gd name="connsiteY579" fmla="*/ 2315658 h 13998542"/>
              <a:gd name="connsiteX580" fmla="*/ 6493750 w 11460104"/>
              <a:gd name="connsiteY580" fmla="*/ 2231457 h 13998542"/>
              <a:gd name="connsiteX581" fmla="*/ 6516674 w 11460104"/>
              <a:gd name="connsiteY581" fmla="*/ 2178832 h 13998542"/>
              <a:gd name="connsiteX582" fmla="*/ 6508338 w 11460104"/>
              <a:gd name="connsiteY582" fmla="*/ 2094632 h 13998542"/>
              <a:gd name="connsiteX583" fmla="*/ 6495834 w 11460104"/>
              <a:gd name="connsiteY583" fmla="*/ 2084107 h 13998542"/>
              <a:gd name="connsiteX584" fmla="*/ 6462489 w 11460104"/>
              <a:gd name="connsiteY584" fmla="*/ 2057794 h 13998542"/>
              <a:gd name="connsiteX585" fmla="*/ 6433312 w 11460104"/>
              <a:gd name="connsiteY585" fmla="*/ 2105157 h 13998542"/>
              <a:gd name="connsiteX586" fmla="*/ 6420026 w 11460104"/>
              <a:gd name="connsiteY586" fmla="*/ 2092001 h 13998542"/>
              <a:gd name="connsiteX587" fmla="*/ 6416859 w 11460104"/>
              <a:gd name="connsiteY587" fmla="*/ 2088446 h 13998542"/>
              <a:gd name="connsiteX588" fmla="*/ 6414555 w 11460104"/>
              <a:gd name="connsiteY588" fmla="*/ 2073582 h 13998542"/>
              <a:gd name="connsiteX589" fmla="*/ 6403744 w 11460104"/>
              <a:gd name="connsiteY589" fmla="*/ 2037731 h 13998542"/>
              <a:gd name="connsiteX590" fmla="*/ 6403469 w 11460104"/>
              <a:gd name="connsiteY590" fmla="*/ 2034974 h 13998542"/>
              <a:gd name="connsiteX591" fmla="*/ 6402881 w 11460104"/>
              <a:gd name="connsiteY591" fmla="*/ 2019271 h 13998542"/>
              <a:gd name="connsiteX592" fmla="*/ 6399967 w 11460104"/>
              <a:gd name="connsiteY592" fmla="*/ 1999907 h 13998542"/>
              <a:gd name="connsiteX593" fmla="*/ 6403469 w 11460104"/>
              <a:gd name="connsiteY593" fmla="*/ 2034974 h 13998542"/>
              <a:gd name="connsiteX594" fmla="*/ 6403744 w 11460104"/>
              <a:gd name="connsiteY594" fmla="*/ 2042336 h 13998542"/>
              <a:gd name="connsiteX595" fmla="*/ 6408303 w 11460104"/>
              <a:gd name="connsiteY595" fmla="*/ 2078844 h 13998542"/>
              <a:gd name="connsiteX596" fmla="*/ 6416859 w 11460104"/>
              <a:gd name="connsiteY596" fmla="*/ 2088446 h 13998542"/>
              <a:gd name="connsiteX597" fmla="*/ 6418072 w 11460104"/>
              <a:gd name="connsiteY597" fmla="*/ 2096276 h 13998542"/>
              <a:gd name="connsiteX598" fmla="*/ 6420807 w 11460104"/>
              <a:gd name="connsiteY598" fmla="*/ 2120944 h 13998542"/>
              <a:gd name="connsiteX599" fmla="*/ 6427060 w 11460104"/>
              <a:gd name="connsiteY599" fmla="*/ 2126207 h 13998542"/>
              <a:gd name="connsiteX600" fmla="*/ 6429144 w 11460104"/>
              <a:gd name="connsiteY600" fmla="*/ 2141995 h 13998542"/>
              <a:gd name="connsiteX601" fmla="*/ 6433312 w 11460104"/>
              <a:gd name="connsiteY601" fmla="*/ 2168307 h 13998542"/>
              <a:gd name="connsiteX602" fmla="*/ 6424975 w 11460104"/>
              <a:gd name="connsiteY602" fmla="*/ 2152520 h 13998542"/>
              <a:gd name="connsiteX603" fmla="*/ 6408303 w 11460104"/>
              <a:gd name="connsiteY603" fmla="*/ 2157782 h 13998542"/>
              <a:gd name="connsiteX604" fmla="*/ 6391631 w 11460104"/>
              <a:gd name="connsiteY604" fmla="*/ 2115682 h 13998542"/>
              <a:gd name="connsiteX605" fmla="*/ 6387462 w 11460104"/>
              <a:gd name="connsiteY605" fmla="*/ 2147257 h 13998542"/>
              <a:gd name="connsiteX606" fmla="*/ 6374958 w 11460104"/>
              <a:gd name="connsiteY606" fmla="*/ 2226195 h 13998542"/>
              <a:gd name="connsiteX607" fmla="*/ 6362454 w 11460104"/>
              <a:gd name="connsiteY607" fmla="*/ 2247245 h 13998542"/>
              <a:gd name="connsiteX608" fmla="*/ 6345781 w 11460104"/>
              <a:gd name="connsiteY608" fmla="*/ 2341970 h 13998542"/>
              <a:gd name="connsiteX609" fmla="*/ 6337445 w 11460104"/>
              <a:gd name="connsiteY609" fmla="*/ 2389333 h 13998542"/>
              <a:gd name="connsiteX610" fmla="*/ 6329109 w 11460104"/>
              <a:gd name="connsiteY610" fmla="*/ 2352495 h 13998542"/>
              <a:gd name="connsiteX611" fmla="*/ 6343697 w 11460104"/>
              <a:gd name="connsiteY611" fmla="*/ 2257770 h 13998542"/>
              <a:gd name="connsiteX612" fmla="*/ 6366622 w 11460104"/>
              <a:gd name="connsiteY612" fmla="*/ 2205145 h 13998542"/>
              <a:gd name="connsiteX613" fmla="*/ 6358286 w 11460104"/>
              <a:gd name="connsiteY613" fmla="*/ 2010432 h 13998542"/>
              <a:gd name="connsiteX614" fmla="*/ 6345781 w 11460104"/>
              <a:gd name="connsiteY614" fmla="*/ 2031482 h 13998542"/>
              <a:gd name="connsiteX615" fmla="*/ 6329109 w 11460104"/>
              <a:gd name="connsiteY615" fmla="*/ 2115682 h 13998542"/>
              <a:gd name="connsiteX616" fmla="*/ 6308268 w 11460104"/>
              <a:gd name="connsiteY616" fmla="*/ 2120944 h 13998542"/>
              <a:gd name="connsiteX617" fmla="*/ 6289512 w 11460104"/>
              <a:gd name="connsiteY617" fmla="*/ 2152520 h 13998542"/>
              <a:gd name="connsiteX618" fmla="*/ 6291596 w 11460104"/>
              <a:gd name="connsiteY618" fmla="*/ 2115682 h 13998542"/>
              <a:gd name="connsiteX619" fmla="*/ 6312436 w 11460104"/>
              <a:gd name="connsiteY619" fmla="*/ 2026219 h 13998542"/>
              <a:gd name="connsiteX620" fmla="*/ 6266587 w 11460104"/>
              <a:gd name="connsiteY620" fmla="*/ 2015694 h 13998542"/>
              <a:gd name="connsiteX621" fmla="*/ 6204066 w 11460104"/>
              <a:gd name="connsiteY621" fmla="*/ 2089369 h 13998542"/>
              <a:gd name="connsiteX622" fmla="*/ 6189477 w 11460104"/>
              <a:gd name="connsiteY622" fmla="*/ 2089369 h 13998542"/>
              <a:gd name="connsiteX623" fmla="*/ 6206150 w 11460104"/>
              <a:gd name="connsiteY623" fmla="*/ 2010431 h 13998542"/>
              <a:gd name="connsiteX624" fmla="*/ 6224906 w 11460104"/>
              <a:gd name="connsiteY624" fmla="*/ 1994644 h 13998542"/>
              <a:gd name="connsiteX625" fmla="*/ 6231158 w 11460104"/>
              <a:gd name="connsiteY625" fmla="*/ 1984119 h 13998542"/>
              <a:gd name="connsiteX626" fmla="*/ 6243663 w 11460104"/>
              <a:gd name="connsiteY626" fmla="*/ 1973594 h 13998542"/>
              <a:gd name="connsiteX627" fmla="*/ 6306184 w 11460104"/>
              <a:gd name="connsiteY627" fmla="*/ 1978856 h 13998542"/>
              <a:gd name="connsiteX628" fmla="*/ 6318689 w 11460104"/>
              <a:gd name="connsiteY628" fmla="*/ 1957806 h 13998542"/>
              <a:gd name="connsiteX629" fmla="*/ 6331193 w 11460104"/>
              <a:gd name="connsiteY629" fmla="*/ 1947281 h 13998542"/>
              <a:gd name="connsiteX630" fmla="*/ 6352033 w 11460104"/>
              <a:gd name="connsiteY630" fmla="*/ 1899919 h 13998542"/>
              <a:gd name="connsiteX631" fmla="*/ 6360370 w 11460104"/>
              <a:gd name="connsiteY631" fmla="*/ 1894657 h 13998542"/>
              <a:gd name="connsiteX632" fmla="*/ 6362454 w 11460104"/>
              <a:gd name="connsiteY632" fmla="*/ 1815719 h 13998542"/>
              <a:gd name="connsiteX633" fmla="*/ 6341613 w 11460104"/>
              <a:gd name="connsiteY633" fmla="*/ 1784144 h 13998542"/>
              <a:gd name="connsiteX634" fmla="*/ 6333277 w 11460104"/>
              <a:gd name="connsiteY634" fmla="*/ 1768356 h 13998542"/>
              <a:gd name="connsiteX635" fmla="*/ 6316604 w 11460104"/>
              <a:gd name="connsiteY635" fmla="*/ 1763094 h 13998542"/>
              <a:gd name="connsiteX636" fmla="*/ 6304100 w 11460104"/>
              <a:gd name="connsiteY636" fmla="*/ 1778882 h 13998542"/>
              <a:gd name="connsiteX637" fmla="*/ 6306184 w 11460104"/>
              <a:gd name="connsiteY637" fmla="*/ 1752569 h 13998542"/>
              <a:gd name="connsiteX638" fmla="*/ 6308268 w 11460104"/>
              <a:gd name="connsiteY638" fmla="*/ 1694681 h 13998542"/>
              <a:gd name="connsiteX639" fmla="*/ 6270755 w 11460104"/>
              <a:gd name="connsiteY639" fmla="*/ 1699944 h 13998542"/>
              <a:gd name="connsiteX640" fmla="*/ 6216570 w 11460104"/>
              <a:gd name="connsiteY640" fmla="*/ 1736781 h 13998542"/>
              <a:gd name="connsiteX641" fmla="*/ 6179057 w 11460104"/>
              <a:gd name="connsiteY641" fmla="*/ 1826244 h 13998542"/>
              <a:gd name="connsiteX642" fmla="*/ 6156132 w 11460104"/>
              <a:gd name="connsiteY642" fmla="*/ 1742043 h 13998542"/>
              <a:gd name="connsiteX643" fmla="*/ 6141544 w 11460104"/>
              <a:gd name="connsiteY643" fmla="*/ 1757831 h 13998542"/>
              <a:gd name="connsiteX644" fmla="*/ 6160301 w 11460104"/>
              <a:gd name="connsiteY644" fmla="*/ 1731518 h 13998542"/>
              <a:gd name="connsiteX645" fmla="*/ 6214486 w 11460104"/>
              <a:gd name="connsiteY645" fmla="*/ 1673631 h 13998542"/>
              <a:gd name="connsiteX646" fmla="*/ 6268671 w 11460104"/>
              <a:gd name="connsiteY646" fmla="*/ 1663106 h 13998542"/>
              <a:gd name="connsiteX647" fmla="*/ 6295764 w 11460104"/>
              <a:gd name="connsiteY647" fmla="*/ 1615744 h 13998542"/>
              <a:gd name="connsiteX648" fmla="*/ 6285344 w 11460104"/>
              <a:gd name="connsiteY648" fmla="*/ 1589430 h 13998542"/>
              <a:gd name="connsiteX649" fmla="*/ 6226990 w 11460104"/>
              <a:gd name="connsiteY649" fmla="*/ 1521018 h 13998542"/>
              <a:gd name="connsiteX650" fmla="*/ 6201981 w 11460104"/>
              <a:gd name="connsiteY650" fmla="*/ 1515756 h 13998542"/>
              <a:gd name="connsiteX651" fmla="*/ 6135292 w 11460104"/>
              <a:gd name="connsiteY651" fmla="*/ 1547330 h 13998542"/>
              <a:gd name="connsiteX652" fmla="*/ 6093610 w 11460104"/>
              <a:gd name="connsiteY652" fmla="*/ 1594693 h 13998542"/>
              <a:gd name="connsiteX653" fmla="*/ 6068602 w 11460104"/>
              <a:gd name="connsiteY653" fmla="*/ 1615743 h 13998542"/>
              <a:gd name="connsiteX654" fmla="*/ 6049845 w 11460104"/>
              <a:gd name="connsiteY654" fmla="*/ 1621006 h 13998542"/>
              <a:gd name="connsiteX655" fmla="*/ 6047761 w 11460104"/>
              <a:gd name="connsiteY655" fmla="*/ 1636794 h 13998542"/>
              <a:gd name="connsiteX656" fmla="*/ 6020668 w 11460104"/>
              <a:gd name="connsiteY656" fmla="*/ 1647319 h 13998542"/>
              <a:gd name="connsiteX657" fmla="*/ 6024837 w 11460104"/>
              <a:gd name="connsiteY657" fmla="*/ 1678893 h 13998542"/>
              <a:gd name="connsiteX658" fmla="*/ 6018584 w 11460104"/>
              <a:gd name="connsiteY658" fmla="*/ 1673631 h 13998542"/>
              <a:gd name="connsiteX659" fmla="*/ 5997744 w 11460104"/>
              <a:gd name="connsiteY659" fmla="*/ 1699944 h 13998542"/>
              <a:gd name="connsiteX660" fmla="*/ 6018585 w 11460104"/>
              <a:gd name="connsiteY660" fmla="*/ 1752568 h 13998542"/>
              <a:gd name="connsiteX661" fmla="*/ 6049845 w 11460104"/>
              <a:gd name="connsiteY661" fmla="*/ 1768356 h 13998542"/>
              <a:gd name="connsiteX662" fmla="*/ 6054518 w 11460104"/>
              <a:gd name="connsiteY662" fmla="*/ 1778634 h 13998542"/>
              <a:gd name="connsiteX663" fmla="*/ 6055092 w 11460104"/>
              <a:gd name="connsiteY663" fmla="*/ 1779878 h 13998542"/>
              <a:gd name="connsiteX664" fmla="*/ 6054664 w 11460104"/>
              <a:gd name="connsiteY664" fmla="*/ 1779539 h 13998542"/>
              <a:gd name="connsiteX665" fmla="*/ 6043593 w 11460104"/>
              <a:gd name="connsiteY665" fmla="*/ 1773618 h 13998542"/>
              <a:gd name="connsiteX666" fmla="*/ 6047761 w 11460104"/>
              <a:gd name="connsiteY666" fmla="*/ 1805194 h 13998542"/>
              <a:gd name="connsiteX667" fmla="*/ 6051901 w 11460104"/>
              <a:gd name="connsiteY667" fmla="*/ 1818173 h 13998542"/>
              <a:gd name="connsiteX668" fmla="*/ 6041509 w 11460104"/>
              <a:gd name="connsiteY668" fmla="*/ 1805194 h 13998542"/>
              <a:gd name="connsiteX669" fmla="*/ 5993575 w 11460104"/>
              <a:gd name="connsiteY669" fmla="*/ 1805194 h 13998542"/>
              <a:gd name="connsiteX670" fmla="*/ 5997744 w 11460104"/>
              <a:gd name="connsiteY670" fmla="*/ 1836769 h 13998542"/>
              <a:gd name="connsiteX671" fmla="*/ 6008164 w 11460104"/>
              <a:gd name="connsiteY671" fmla="*/ 1884132 h 13998542"/>
              <a:gd name="connsiteX672" fmla="*/ 6024837 w 11460104"/>
              <a:gd name="connsiteY672" fmla="*/ 1947282 h 13998542"/>
              <a:gd name="connsiteX673" fmla="*/ 5995660 w 11460104"/>
              <a:gd name="connsiteY673" fmla="*/ 1831506 h 13998542"/>
              <a:gd name="connsiteX674" fmla="*/ 5974819 w 11460104"/>
              <a:gd name="connsiteY674" fmla="*/ 1815719 h 13998542"/>
              <a:gd name="connsiteX675" fmla="*/ 5970651 w 11460104"/>
              <a:gd name="connsiteY675" fmla="*/ 1894656 h 13998542"/>
              <a:gd name="connsiteX676" fmla="*/ 5997744 w 11460104"/>
              <a:gd name="connsiteY676" fmla="*/ 1973595 h 13998542"/>
              <a:gd name="connsiteX677" fmla="*/ 6014416 w 11460104"/>
              <a:gd name="connsiteY677" fmla="*/ 2073581 h 13998542"/>
              <a:gd name="connsiteX678" fmla="*/ 5985240 w 11460104"/>
              <a:gd name="connsiteY678" fmla="*/ 1994644 h 13998542"/>
              <a:gd name="connsiteX679" fmla="*/ 5962315 w 11460104"/>
              <a:gd name="connsiteY679" fmla="*/ 1947282 h 13998542"/>
              <a:gd name="connsiteX680" fmla="*/ 5949810 w 11460104"/>
              <a:gd name="connsiteY680" fmla="*/ 1905181 h 13998542"/>
              <a:gd name="connsiteX681" fmla="*/ 5916465 w 11460104"/>
              <a:gd name="connsiteY681" fmla="*/ 1878869 h 13998542"/>
              <a:gd name="connsiteX682" fmla="*/ 5914381 w 11460104"/>
              <a:gd name="connsiteY682" fmla="*/ 1915707 h 13998542"/>
              <a:gd name="connsiteX683" fmla="*/ 5922718 w 11460104"/>
              <a:gd name="connsiteY683" fmla="*/ 1984119 h 13998542"/>
              <a:gd name="connsiteX684" fmla="*/ 5928970 w 11460104"/>
              <a:gd name="connsiteY684" fmla="*/ 2047269 h 13998542"/>
              <a:gd name="connsiteX685" fmla="*/ 5889373 w 11460104"/>
              <a:gd name="connsiteY685" fmla="*/ 1952544 h 13998542"/>
              <a:gd name="connsiteX686" fmla="*/ 5878953 w 11460104"/>
              <a:gd name="connsiteY686" fmla="*/ 2026219 h 13998542"/>
              <a:gd name="connsiteX687" fmla="*/ 5874784 w 11460104"/>
              <a:gd name="connsiteY687" fmla="*/ 2147257 h 13998542"/>
              <a:gd name="connsiteX688" fmla="*/ 5862280 w 11460104"/>
              <a:gd name="connsiteY688" fmla="*/ 1942019 h 13998542"/>
              <a:gd name="connsiteX689" fmla="*/ 5839355 w 11460104"/>
              <a:gd name="connsiteY689" fmla="*/ 1957807 h 13998542"/>
              <a:gd name="connsiteX690" fmla="*/ 5814347 w 11460104"/>
              <a:gd name="connsiteY690" fmla="*/ 1989382 h 13998542"/>
              <a:gd name="connsiteX691" fmla="*/ 5789338 w 11460104"/>
              <a:gd name="connsiteY691" fmla="*/ 1996289 h 13998542"/>
              <a:gd name="connsiteX692" fmla="*/ 5789338 w 11460104"/>
              <a:gd name="connsiteY692" fmla="*/ 2036744 h 13998542"/>
              <a:gd name="connsiteX693" fmla="*/ 5824767 w 11460104"/>
              <a:gd name="connsiteY693" fmla="*/ 2184094 h 13998542"/>
              <a:gd name="connsiteX694" fmla="*/ 5797674 w 11460104"/>
              <a:gd name="connsiteY694" fmla="*/ 2084107 h 13998542"/>
              <a:gd name="connsiteX695" fmla="*/ 5766413 w 11460104"/>
              <a:gd name="connsiteY695" fmla="*/ 2063057 h 13998542"/>
              <a:gd name="connsiteX696" fmla="*/ 5753909 w 11460104"/>
              <a:gd name="connsiteY696" fmla="*/ 2247245 h 13998542"/>
              <a:gd name="connsiteX697" fmla="*/ 5726816 w 11460104"/>
              <a:gd name="connsiteY697" fmla="*/ 2263033 h 13998542"/>
              <a:gd name="connsiteX698" fmla="*/ 5726816 w 11460104"/>
              <a:gd name="connsiteY698" fmla="*/ 2326183 h 13998542"/>
              <a:gd name="connsiteX699" fmla="*/ 5708060 w 11460104"/>
              <a:gd name="connsiteY699" fmla="*/ 2294607 h 13998542"/>
              <a:gd name="connsiteX700" fmla="*/ 5685135 w 11460104"/>
              <a:gd name="connsiteY700" fmla="*/ 2368283 h 13998542"/>
              <a:gd name="connsiteX701" fmla="*/ 5664295 w 11460104"/>
              <a:gd name="connsiteY701" fmla="*/ 2436695 h 13998542"/>
              <a:gd name="connsiteX702" fmla="*/ 5664295 w 11460104"/>
              <a:gd name="connsiteY702" fmla="*/ 2499845 h 13998542"/>
              <a:gd name="connsiteX703" fmla="*/ 5676799 w 11460104"/>
              <a:gd name="connsiteY703" fmla="*/ 2520896 h 13998542"/>
              <a:gd name="connsiteX704" fmla="*/ 5691387 w 11460104"/>
              <a:gd name="connsiteY704" fmla="*/ 2526158 h 13998542"/>
              <a:gd name="connsiteX705" fmla="*/ 5708060 w 11460104"/>
              <a:gd name="connsiteY705" fmla="*/ 2505108 h 13998542"/>
              <a:gd name="connsiteX706" fmla="*/ 5697639 w 11460104"/>
              <a:gd name="connsiteY706" fmla="*/ 2568258 h 13998542"/>
              <a:gd name="connsiteX707" fmla="*/ 5685135 w 11460104"/>
              <a:gd name="connsiteY707" fmla="*/ 2694558 h 13998542"/>
              <a:gd name="connsiteX708" fmla="*/ 5685135 w 11460104"/>
              <a:gd name="connsiteY708" fmla="*/ 2673094 h 13998542"/>
              <a:gd name="connsiteX709" fmla="*/ 5685266 w 11460104"/>
              <a:gd name="connsiteY709" fmla="*/ 2671863 h 13998542"/>
              <a:gd name="connsiteX710" fmla="*/ 5685135 w 11460104"/>
              <a:gd name="connsiteY710" fmla="*/ 2652458 h 13998542"/>
              <a:gd name="connsiteX711" fmla="*/ 5685135 w 11460104"/>
              <a:gd name="connsiteY711" fmla="*/ 2673094 h 13998542"/>
              <a:gd name="connsiteX712" fmla="*/ 5684696 w 11460104"/>
              <a:gd name="connsiteY712" fmla="*/ 2677250 h 13998542"/>
              <a:gd name="connsiteX713" fmla="*/ 5683051 w 11460104"/>
              <a:gd name="connsiteY713" fmla="*/ 2689296 h 13998542"/>
              <a:gd name="connsiteX714" fmla="*/ 5666379 w 11460104"/>
              <a:gd name="connsiteY714" fmla="*/ 2726134 h 13998542"/>
              <a:gd name="connsiteX715" fmla="*/ 5657153 w 11460104"/>
              <a:gd name="connsiteY715" fmla="*/ 2726688 h 13998542"/>
              <a:gd name="connsiteX716" fmla="*/ 5662420 w 11460104"/>
              <a:gd name="connsiteY716" fmla="*/ 2699195 h 13998542"/>
              <a:gd name="connsiteX717" fmla="*/ 5671483 w 11460104"/>
              <a:gd name="connsiteY717" fmla="*/ 2659893 h 13998542"/>
              <a:gd name="connsiteX718" fmla="*/ 5614281 w 11460104"/>
              <a:gd name="connsiteY718" fmla="*/ 2498622 h 13998542"/>
              <a:gd name="connsiteX719" fmla="*/ 5631111 w 11460104"/>
              <a:gd name="connsiteY719" fmla="*/ 2563288 h 13998542"/>
              <a:gd name="connsiteX720" fmla="*/ 5658641 w 11460104"/>
              <a:gd name="connsiteY720" fmla="*/ 2458396 h 13998542"/>
              <a:gd name="connsiteX721" fmla="*/ 5652577 w 11460104"/>
              <a:gd name="connsiteY721" fmla="*/ 2419491 h 13998542"/>
              <a:gd name="connsiteX722" fmla="*/ 5643822 w 11460104"/>
              <a:gd name="connsiteY722" fmla="*/ 2374144 h 13998542"/>
              <a:gd name="connsiteX723" fmla="*/ 5603961 w 11460104"/>
              <a:gd name="connsiteY723" fmla="*/ 2297058 h 13998542"/>
              <a:gd name="connsiteX724" fmla="*/ 5607471 w 11460104"/>
              <a:gd name="connsiteY724" fmla="*/ 2238370 h 13998542"/>
              <a:gd name="connsiteX725" fmla="*/ 5668628 w 11460104"/>
              <a:gd name="connsiteY725" fmla="*/ 2165152 h 13998542"/>
              <a:gd name="connsiteX726" fmla="*/ 5607543 w 11460104"/>
              <a:gd name="connsiteY726" fmla="*/ 1951896 h 13998542"/>
              <a:gd name="connsiteX727" fmla="*/ 5611191 w 11460104"/>
              <a:gd name="connsiteY727" fmla="*/ 1802053 h 13998542"/>
              <a:gd name="connsiteX728" fmla="*/ 5644307 w 11460104"/>
              <a:gd name="connsiteY728" fmla="*/ 1814208 h 13998542"/>
              <a:gd name="connsiteX729" fmla="*/ 5637700 w 11460104"/>
              <a:gd name="connsiteY729" fmla="*/ 1658123 h 13998542"/>
              <a:gd name="connsiteX730" fmla="*/ 5631943 w 11460104"/>
              <a:gd name="connsiteY730" fmla="*/ 1534570 h 13998542"/>
              <a:gd name="connsiteX731" fmla="*/ 5639847 w 11460104"/>
              <a:gd name="connsiteY731" fmla="*/ 1547385 h 13998542"/>
              <a:gd name="connsiteX732" fmla="*/ 5662709 w 11460104"/>
              <a:gd name="connsiteY732" fmla="*/ 1553297 h 13998542"/>
              <a:gd name="connsiteX733" fmla="*/ 5673442 w 11460104"/>
              <a:gd name="connsiteY733" fmla="*/ 1481398 h 13998542"/>
              <a:gd name="connsiteX734" fmla="*/ 5627720 w 11460104"/>
              <a:gd name="connsiteY734" fmla="*/ 1469573 h 13998542"/>
              <a:gd name="connsiteX735" fmla="*/ 5629049 w 11460104"/>
              <a:gd name="connsiteY735" fmla="*/ 1423963 h 13998542"/>
              <a:gd name="connsiteX736" fmla="*/ 5684175 w 11460104"/>
              <a:gd name="connsiteY736" fmla="*/ 1409499 h 13998542"/>
              <a:gd name="connsiteX737" fmla="*/ 5689605 w 11460104"/>
              <a:gd name="connsiteY737" fmla="*/ 1318715 h 13998542"/>
              <a:gd name="connsiteX738" fmla="*/ 5689606 w 11460104"/>
              <a:gd name="connsiteY738" fmla="*/ 1317781 h 13998542"/>
              <a:gd name="connsiteX739" fmla="*/ 5700073 w 11460104"/>
              <a:gd name="connsiteY739" fmla="*/ 1314162 h 13998542"/>
              <a:gd name="connsiteX740" fmla="*/ 5719748 w 11460104"/>
              <a:gd name="connsiteY740" fmla="*/ 1226267 h 13998542"/>
              <a:gd name="connsiteX741" fmla="*/ 5737193 w 11460104"/>
              <a:gd name="connsiteY741" fmla="*/ 1121639 h 13998542"/>
              <a:gd name="connsiteX742" fmla="*/ 5763224 w 11460104"/>
              <a:gd name="connsiteY742" fmla="*/ 1055851 h 13998542"/>
              <a:gd name="connsiteX743" fmla="*/ 5750415 w 11460104"/>
              <a:gd name="connsiteY743" fmla="*/ 952013 h 13998542"/>
              <a:gd name="connsiteX744" fmla="*/ 5734947 w 11460104"/>
              <a:gd name="connsiteY744" fmla="*/ 939397 h 13998542"/>
              <a:gd name="connsiteX745" fmla="*/ 5693756 w 11460104"/>
              <a:gd name="connsiteY745" fmla="*/ 907921 h 13998542"/>
              <a:gd name="connsiteX746" fmla="*/ 5659991 w 11460104"/>
              <a:gd name="connsiteY746" fmla="*/ 967401 h 13998542"/>
              <a:gd name="connsiteX747" fmla="*/ 5643493 w 11460104"/>
              <a:gd name="connsiteY747" fmla="*/ 951556 h 13998542"/>
              <a:gd name="connsiteX748" fmla="*/ 5639547 w 11460104"/>
              <a:gd name="connsiteY748" fmla="*/ 947262 h 13998542"/>
              <a:gd name="connsiteX749" fmla="*/ 5636279 w 11460104"/>
              <a:gd name="connsiteY749" fmla="*/ 928957 h 13998542"/>
              <a:gd name="connsiteX750" fmla="*/ 5622041 w 11460104"/>
              <a:gd name="connsiteY750" fmla="*/ 884975 h 13998542"/>
              <a:gd name="connsiteX751" fmla="*/ 5621618 w 11460104"/>
              <a:gd name="connsiteY751" fmla="*/ 881574 h 13998542"/>
              <a:gd name="connsiteX752" fmla="*/ 5620399 w 11460104"/>
              <a:gd name="connsiteY752" fmla="*/ 862179 h 13998542"/>
              <a:gd name="connsiteX753" fmla="*/ 5616247 w 11460104"/>
              <a:gd name="connsiteY753" fmla="*/ 838331 h 13998542"/>
              <a:gd name="connsiteX754" fmla="*/ 5621618 w 11460104"/>
              <a:gd name="connsiteY754" fmla="*/ 881574 h 13998542"/>
              <a:gd name="connsiteX755" fmla="*/ 5622189 w 11460104"/>
              <a:gd name="connsiteY755" fmla="*/ 890668 h 13998542"/>
              <a:gd name="connsiteX756" fmla="*/ 5628886 w 11460104"/>
              <a:gd name="connsiteY756" fmla="*/ 935662 h 13998542"/>
              <a:gd name="connsiteX757" fmla="*/ 5639547 w 11460104"/>
              <a:gd name="connsiteY757" fmla="*/ 947262 h 13998542"/>
              <a:gd name="connsiteX758" fmla="*/ 5641268 w 11460104"/>
              <a:gd name="connsiteY758" fmla="*/ 956905 h 13998542"/>
              <a:gd name="connsiteX759" fmla="*/ 5645375 w 11460104"/>
              <a:gd name="connsiteY759" fmla="*/ 987316 h 13998542"/>
              <a:gd name="connsiteX760" fmla="*/ 5653109 w 11460104"/>
              <a:gd name="connsiteY760" fmla="*/ 993625 h 13998542"/>
              <a:gd name="connsiteX761" fmla="*/ 5656141 w 11460104"/>
              <a:gd name="connsiteY761" fmla="*/ 1013077 h 13998542"/>
              <a:gd name="connsiteX762" fmla="*/ 5662035 w 11460104"/>
              <a:gd name="connsiteY762" fmla="*/ 1045477 h 13998542"/>
              <a:gd name="connsiteX763" fmla="*/ 5651439 w 11460104"/>
              <a:gd name="connsiteY763" fmla="*/ 1026222 h 13998542"/>
              <a:gd name="connsiteX764" fmla="*/ 5631439 w 11460104"/>
              <a:gd name="connsiteY764" fmla="*/ 1033256 h 13998542"/>
              <a:gd name="connsiteX765" fmla="*/ 5609907 w 11460104"/>
              <a:gd name="connsiteY765" fmla="*/ 981734 h 13998542"/>
              <a:gd name="connsiteX766" fmla="*/ 5605887 w 11460104"/>
              <a:gd name="connsiteY766" fmla="*/ 1020903 h 13998542"/>
              <a:gd name="connsiteX767" fmla="*/ 5593313 w 11460104"/>
              <a:gd name="connsiteY767" fmla="*/ 1118894 h 13998542"/>
              <a:gd name="connsiteX768" fmla="*/ 5578867 w 11460104"/>
              <a:gd name="connsiteY768" fmla="*/ 1145314 h 13998542"/>
              <a:gd name="connsiteX769" fmla="*/ 5561762 w 11460104"/>
              <a:gd name="connsiteY769" fmla="*/ 1262955 h 13998542"/>
              <a:gd name="connsiteX770" fmla="*/ 5553210 w 11460104"/>
              <a:gd name="connsiteY770" fmla="*/ 1321775 h 13998542"/>
              <a:gd name="connsiteX771" fmla="*/ 5541933 w 11460104"/>
              <a:gd name="connsiteY771" fmla="*/ 1276495 h 13998542"/>
              <a:gd name="connsiteX772" fmla="*/ 5556517 w 11460104"/>
              <a:gd name="connsiteY772" fmla="*/ 1158920 h 13998542"/>
              <a:gd name="connsiteX773" fmla="*/ 5582547 w 11460104"/>
              <a:gd name="connsiteY773" fmla="*/ 1093132 h 13998542"/>
              <a:gd name="connsiteX774" fmla="*/ 5566163 w 11460104"/>
              <a:gd name="connsiteY774" fmla="*/ 852664 h 13998542"/>
              <a:gd name="connsiteX775" fmla="*/ 5551717 w 11460104"/>
              <a:gd name="connsiteY775" fmla="*/ 879085 h 13998542"/>
              <a:gd name="connsiteX776" fmla="*/ 5534271 w 11460104"/>
              <a:gd name="connsiteY776" fmla="*/ 983713 h 13998542"/>
              <a:gd name="connsiteX777" fmla="*/ 5509229 w 11460104"/>
              <a:gd name="connsiteY777" fmla="*/ 990879 h 13998542"/>
              <a:gd name="connsiteX778" fmla="*/ 5487560 w 11460104"/>
              <a:gd name="connsiteY778" fmla="*/ 1030510 h 13998542"/>
              <a:gd name="connsiteX779" fmla="*/ 5488889 w 11460104"/>
              <a:gd name="connsiteY779" fmla="*/ 984900 h 13998542"/>
              <a:gd name="connsiteX780" fmla="*/ 5511207 w 11460104"/>
              <a:gd name="connsiteY780" fmla="*/ 873634 h 13998542"/>
              <a:gd name="connsiteX781" fmla="*/ 5455399 w 11460104"/>
              <a:gd name="connsiteY781" fmla="*/ 862073 h 13998542"/>
              <a:gd name="connsiteX782" fmla="*/ 5382147 w 11460104"/>
              <a:gd name="connsiteY782" fmla="*/ 955140 h 13998542"/>
              <a:gd name="connsiteX783" fmla="*/ 5364498 w 11460104"/>
              <a:gd name="connsiteY783" fmla="*/ 955601 h 13998542"/>
              <a:gd name="connsiteX784" fmla="*/ 5382114 w 11460104"/>
              <a:gd name="connsiteY784" fmla="*/ 857480 h 13998542"/>
              <a:gd name="connsiteX785" fmla="*/ 5404294 w 11460104"/>
              <a:gd name="connsiteY785" fmla="*/ 837367 h 13998542"/>
              <a:gd name="connsiteX786" fmla="*/ 5411517 w 11460104"/>
              <a:gd name="connsiteY786" fmla="*/ 824156 h 13998542"/>
              <a:gd name="connsiteX787" fmla="*/ 5426304 w 11460104"/>
              <a:gd name="connsiteY787" fmla="*/ 810748 h 13998542"/>
              <a:gd name="connsiteX788" fmla="*/ 5502111 w 11460104"/>
              <a:gd name="connsiteY788" fmla="*/ 815275 h 13998542"/>
              <a:gd name="connsiteX789" fmla="*/ 5516557 w 11460104"/>
              <a:gd name="connsiteY789" fmla="*/ 788854 h 13998542"/>
              <a:gd name="connsiteX790" fmla="*/ 5531344 w 11460104"/>
              <a:gd name="connsiteY790" fmla="*/ 775446 h 13998542"/>
              <a:gd name="connsiteX791" fmla="*/ 5555024 w 11460104"/>
              <a:gd name="connsiteY791" fmla="*/ 716230 h 13998542"/>
              <a:gd name="connsiteX792" fmla="*/ 5564938 w 11460104"/>
              <a:gd name="connsiteY792" fmla="*/ 709459 h 13998542"/>
              <a:gd name="connsiteX793" fmla="*/ 5564906 w 11460104"/>
              <a:gd name="connsiteY793" fmla="*/ 611799 h 13998542"/>
              <a:gd name="connsiteX794" fmla="*/ 5538672 w 11460104"/>
              <a:gd name="connsiteY794" fmla="*/ 573421 h 13998542"/>
              <a:gd name="connsiteX795" fmla="*/ 5528077 w 11460104"/>
              <a:gd name="connsiteY795" fmla="*/ 554166 h 13998542"/>
              <a:gd name="connsiteX796" fmla="*/ 5507737 w 11460104"/>
              <a:gd name="connsiteY796" fmla="*/ 548187 h 13998542"/>
              <a:gd name="connsiteX797" fmla="*/ 5493120 w 11460104"/>
              <a:gd name="connsiteY797" fmla="*/ 568103 h 13998542"/>
              <a:gd name="connsiteX798" fmla="*/ 5494790 w 11460104"/>
              <a:gd name="connsiteY798" fmla="*/ 535505 h 13998542"/>
              <a:gd name="connsiteX799" fmla="*/ 5495438 w 11460104"/>
              <a:gd name="connsiteY799" fmla="*/ 463870 h 13998542"/>
              <a:gd name="connsiteX800" fmla="*/ 5450226 w 11460104"/>
              <a:gd name="connsiteY800" fmla="*/ 471564 h 13998542"/>
              <a:gd name="connsiteX801" fmla="*/ 5385866 w 11460104"/>
              <a:gd name="connsiteY801" fmla="*/ 518823 h 13998542"/>
              <a:gd name="connsiteX802" fmla="*/ 5343379 w 11460104"/>
              <a:gd name="connsiteY802" fmla="*/ 630617 h 13998542"/>
              <a:gd name="connsiteX803" fmla="*/ 5331862 w 11460104"/>
              <a:gd name="connsiteY803" fmla="*/ 543024 h 13998542"/>
              <a:gd name="connsiteX804" fmla="*/ 5313796 w 11460104"/>
              <a:gd name="connsiteY804" fmla="*/ 527970 h 13998542"/>
              <a:gd name="connsiteX805" fmla="*/ 5317623 w 11460104"/>
              <a:gd name="connsiteY805" fmla="*/ 514098 h 13998542"/>
              <a:gd name="connsiteX806" fmla="*/ 5381302 w 11460104"/>
              <a:gd name="connsiteY806" fmla="*/ 440814 h 13998542"/>
              <a:gd name="connsiteX807" fmla="*/ 5446513 w 11460104"/>
              <a:gd name="connsiteY807" fmla="*/ 426086 h 13998542"/>
              <a:gd name="connsiteX808" fmla="*/ 5477757 w 11460104"/>
              <a:gd name="connsiteY808" fmla="*/ 366672 h 13998542"/>
              <a:gd name="connsiteX809" fmla="*/ 5464300 w 11460104"/>
              <a:gd name="connsiteY809" fmla="*/ 334470 h 13998542"/>
              <a:gd name="connsiteX810" fmla="*/ 5391492 w 11460104"/>
              <a:gd name="connsiteY810" fmla="*/ 251735 h 13998542"/>
              <a:gd name="connsiteX811" fmla="*/ 5361067 w 11460104"/>
              <a:gd name="connsiteY811" fmla="*/ 246020 h 13998542"/>
              <a:gd name="connsiteX812" fmla="*/ 5281410 w 11460104"/>
              <a:gd name="connsiteY812" fmla="*/ 287170 h 13998542"/>
              <a:gd name="connsiteX813" fmla="*/ 5232518 w 11460104"/>
              <a:gd name="connsiteY813" fmla="*/ 347046 h 13998542"/>
              <a:gd name="connsiteX814" fmla="*/ 5202944 w 11460104"/>
              <a:gd name="connsiteY814" fmla="*/ 373863 h 13998542"/>
              <a:gd name="connsiteX815" fmla="*/ 5180424 w 11460104"/>
              <a:gd name="connsiteY815" fmla="*/ 380962 h 13998542"/>
              <a:gd name="connsiteX816" fmla="*/ 5178413 w 11460104"/>
              <a:gd name="connsiteY816" fmla="*/ 400547 h 13998542"/>
              <a:gd name="connsiteX817" fmla="*/ 5145978 w 11460104"/>
              <a:gd name="connsiteY817" fmla="*/ 414418 h 13998542"/>
              <a:gd name="connsiteX818" fmla="*/ 5152042 w 11460104"/>
              <a:gd name="connsiteY818" fmla="*/ 453324 h 13998542"/>
              <a:gd name="connsiteX819" fmla="*/ 5144308 w 11460104"/>
              <a:gd name="connsiteY819" fmla="*/ 447015 h 13998542"/>
              <a:gd name="connsiteX820" fmla="*/ 5119947 w 11460104"/>
              <a:gd name="connsiteY820" fmla="*/ 480206 h 13998542"/>
              <a:gd name="connsiteX821" fmla="*/ 5146862 w 11460104"/>
              <a:gd name="connsiteY821" fmla="*/ 544609 h 13998542"/>
              <a:gd name="connsiteX822" fmla="*/ 5185191 w 11460104"/>
              <a:gd name="connsiteY822" fmla="*/ 563139 h 13998542"/>
              <a:gd name="connsiteX823" fmla="*/ 5191176 w 11460104"/>
              <a:gd name="connsiteY823" fmla="*/ 575699 h 13998542"/>
              <a:gd name="connsiteX824" fmla="*/ 5191911 w 11460104"/>
              <a:gd name="connsiteY824" fmla="*/ 577218 h 13998542"/>
              <a:gd name="connsiteX825" fmla="*/ 5191383 w 11460104"/>
              <a:gd name="connsiteY825" fmla="*/ 576813 h 13998542"/>
              <a:gd name="connsiteX826" fmla="*/ 5177797 w 11460104"/>
              <a:gd name="connsiteY826" fmla="*/ 569843 h 13998542"/>
              <a:gd name="connsiteX827" fmla="*/ 5183861 w 11460104"/>
              <a:gd name="connsiteY827" fmla="*/ 608749 h 13998542"/>
              <a:gd name="connsiteX828" fmla="*/ 5189290 w 11460104"/>
              <a:gd name="connsiteY828" fmla="*/ 624665 h 13998542"/>
              <a:gd name="connsiteX829" fmla="*/ 5176298 w 11460104"/>
              <a:gd name="connsiteY829" fmla="*/ 608946 h 13998542"/>
              <a:gd name="connsiteX830" fmla="*/ 5118310 w 11460104"/>
              <a:gd name="connsiteY830" fmla="*/ 610464 h 13998542"/>
              <a:gd name="connsiteX831" fmla="*/ 5124374 w 11460104"/>
              <a:gd name="connsiteY831" fmla="*/ 649370 h 13998542"/>
              <a:gd name="connsiteX832" fmla="*/ 5138512 w 11460104"/>
              <a:gd name="connsiteY832" fmla="*/ 707596 h 13998542"/>
              <a:gd name="connsiteX833" fmla="*/ 5160725 w 11460104"/>
              <a:gd name="connsiteY833" fmla="*/ 785144 h 13998542"/>
              <a:gd name="connsiteX834" fmla="*/ 5121682 w 11460104"/>
              <a:gd name="connsiteY834" fmla="*/ 642930 h 13998542"/>
              <a:gd name="connsiteX835" fmla="*/ 5095959 w 11460104"/>
              <a:gd name="connsiteY835" fmla="*/ 624071 h 13998542"/>
              <a:gd name="connsiteX836" fmla="*/ 5093471 w 11460104"/>
              <a:gd name="connsiteY836" fmla="*/ 721797 h 13998542"/>
              <a:gd name="connsiteX837" fmla="*/ 5128800 w 11460104"/>
              <a:gd name="connsiteY837" fmla="*/ 818533 h 13998542"/>
              <a:gd name="connsiteX838" fmla="*/ 5152205 w 11460104"/>
              <a:gd name="connsiteY838" fmla="*/ 941625 h 13998542"/>
              <a:gd name="connsiteX839" fmla="*/ 5114354 w 11460104"/>
              <a:gd name="connsiteY839" fmla="*/ 844955 h 13998542"/>
              <a:gd name="connsiteX840" fmla="*/ 5085088 w 11460104"/>
              <a:gd name="connsiteY840" fmla="*/ 787123 h 13998542"/>
              <a:gd name="connsiteX841" fmla="*/ 5068599 w 11460104"/>
              <a:gd name="connsiteY841" fmla="*/ 735469 h 13998542"/>
              <a:gd name="connsiteX842" fmla="*/ 5027408 w 11460104"/>
              <a:gd name="connsiteY842" fmla="*/ 703993 h 13998542"/>
              <a:gd name="connsiteX843" fmla="*/ 5026079 w 11460104"/>
              <a:gd name="connsiteY843" fmla="*/ 749603 h 13998542"/>
              <a:gd name="connsiteX844" fmla="*/ 5038377 w 11460104"/>
              <a:gd name="connsiteY844" fmla="*/ 833921 h 13998542"/>
              <a:gd name="connsiteX845" fmla="*/ 5047984 w 11460104"/>
              <a:gd name="connsiteY845" fmla="*/ 911798 h 13998542"/>
              <a:gd name="connsiteX846" fmla="*/ 4997016 w 11460104"/>
              <a:gd name="connsiteY846" fmla="*/ 795939 h 13998542"/>
              <a:gd name="connsiteX847" fmla="*/ 4986793 w 11460104"/>
              <a:gd name="connsiteY847" fmla="*/ 887357 h 13998542"/>
              <a:gd name="connsiteX848" fmla="*/ 4985667 w 11460104"/>
              <a:gd name="connsiteY848" fmla="*/ 1037134 h 13998542"/>
              <a:gd name="connsiteX849" fmla="*/ 4963900 w 11460104"/>
              <a:gd name="connsiteY849" fmla="*/ 783784 h 13998542"/>
              <a:gd name="connsiteX850" fmla="*/ 4936677 w 11460104"/>
              <a:gd name="connsiteY850" fmla="*/ 804028 h 13998542"/>
              <a:gd name="connsiteX851" fmla="*/ 4907444 w 11460104"/>
              <a:gd name="connsiteY851" fmla="*/ 843858 h 13998542"/>
              <a:gd name="connsiteX852" fmla="*/ 4877413 w 11460104"/>
              <a:gd name="connsiteY852" fmla="*/ 853189 h 13998542"/>
              <a:gd name="connsiteX853" fmla="*/ 0 w 11460104"/>
              <a:gd name="connsiteY853" fmla="*/ 11048479 h 13998542"/>
              <a:gd name="connsiteX854" fmla="*/ 5240380 w 11460104"/>
              <a:gd name="connsiteY854" fmla="*/ 0 h 13998542"/>
              <a:gd name="connsiteX855" fmla="*/ 9579745 w 11460104"/>
              <a:gd name="connsiteY855" fmla="*/ 2058195 h 13998542"/>
              <a:gd name="connsiteX856" fmla="*/ 9564183 w 11460104"/>
              <a:gd name="connsiteY856" fmla="*/ 2059547 h 13998542"/>
              <a:gd name="connsiteX857" fmla="*/ 9359139 w 11460104"/>
              <a:gd name="connsiteY857" fmla="*/ 2105365 h 13998542"/>
              <a:gd name="connsiteX858" fmla="*/ 9230987 w 11460104"/>
              <a:gd name="connsiteY858" fmla="*/ 2174091 h 13998542"/>
              <a:gd name="connsiteX859" fmla="*/ 9154096 w 11460104"/>
              <a:gd name="connsiteY859" fmla="*/ 2204636 h 13998542"/>
              <a:gd name="connsiteX860" fmla="*/ 9096428 w 11460104"/>
              <a:gd name="connsiteY860" fmla="*/ 2212273 h 13998542"/>
              <a:gd name="connsiteX861" fmla="*/ 9090020 w 11460104"/>
              <a:gd name="connsiteY861" fmla="*/ 2235182 h 13998542"/>
              <a:gd name="connsiteX862" fmla="*/ 9006721 w 11460104"/>
              <a:gd name="connsiteY862" fmla="*/ 2250454 h 13998542"/>
              <a:gd name="connsiteX863" fmla="*/ 9019537 w 11460104"/>
              <a:gd name="connsiteY863" fmla="*/ 2296271 h 13998542"/>
              <a:gd name="connsiteX864" fmla="*/ 9000314 w 11460104"/>
              <a:gd name="connsiteY864" fmla="*/ 2288634 h 13998542"/>
              <a:gd name="connsiteX865" fmla="*/ 8936237 w 11460104"/>
              <a:gd name="connsiteY865" fmla="*/ 2326817 h 13998542"/>
              <a:gd name="connsiteX866" fmla="*/ 9000314 w 11460104"/>
              <a:gd name="connsiteY866" fmla="*/ 2403179 h 13998542"/>
              <a:gd name="connsiteX867" fmla="*/ 9096428 w 11460104"/>
              <a:gd name="connsiteY867" fmla="*/ 2426087 h 13998542"/>
              <a:gd name="connsiteX868" fmla="*/ 9110795 w 11460104"/>
              <a:gd name="connsiteY868" fmla="*/ 2441002 h 13998542"/>
              <a:gd name="connsiteX869" fmla="*/ 9112559 w 11460104"/>
              <a:gd name="connsiteY869" fmla="*/ 2442806 h 13998542"/>
              <a:gd name="connsiteX870" fmla="*/ 9111246 w 11460104"/>
              <a:gd name="connsiteY870" fmla="*/ 2442314 h 13998542"/>
              <a:gd name="connsiteX871" fmla="*/ 9077204 w 11460104"/>
              <a:gd name="connsiteY871" fmla="*/ 2433724 h 13998542"/>
              <a:gd name="connsiteX872" fmla="*/ 9090020 w 11460104"/>
              <a:gd name="connsiteY872" fmla="*/ 2479542 h 13998542"/>
              <a:gd name="connsiteX873" fmla="*/ 9102149 w 11460104"/>
              <a:gd name="connsiteY873" fmla="*/ 2497488 h 13998542"/>
              <a:gd name="connsiteX874" fmla="*/ 9089269 w 11460104"/>
              <a:gd name="connsiteY874" fmla="*/ 2488729 h 13998542"/>
              <a:gd name="connsiteX875" fmla="*/ 9070797 w 11460104"/>
              <a:gd name="connsiteY875" fmla="*/ 2479542 h 13998542"/>
              <a:gd name="connsiteX876" fmla="*/ 8923422 w 11460104"/>
              <a:gd name="connsiteY876" fmla="*/ 2479542 h 13998542"/>
              <a:gd name="connsiteX877" fmla="*/ 8936238 w 11460104"/>
              <a:gd name="connsiteY877" fmla="*/ 2525359 h 13998542"/>
              <a:gd name="connsiteX878" fmla="*/ 8968276 w 11460104"/>
              <a:gd name="connsiteY878" fmla="*/ 2594085 h 13998542"/>
              <a:gd name="connsiteX879" fmla="*/ 9019537 w 11460104"/>
              <a:gd name="connsiteY879" fmla="*/ 2685720 h 13998542"/>
              <a:gd name="connsiteX880" fmla="*/ 8929830 w 11460104"/>
              <a:gd name="connsiteY880" fmla="*/ 2517722 h 13998542"/>
              <a:gd name="connsiteX881" fmla="*/ 8865754 w 11460104"/>
              <a:gd name="connsiteY881" fmla="*/ 2494814 h 13998542"/>
              <a:gd name="connsiteX882" fmla="*/ 8852938 w 11460104"/>
              <a:gd name="connsiteY882" fmla="*/ 2609358 h 13998542"/>
              <a:gd name="connsiteX883" fmla="*/ 8936237 w 11460104"/>
              <a:gd name="connsiteY883" fmla="*/ 2723902 h 13998542"/>
              <a:gd name="connsiteX884" fmla="*/ 8987498 w 11460104"/>
              <a:gd name="connsiteY884" fmla="*/ 2868990 h 13998542"/>
              <a:gd name="connsiteX885" fmla="*/ 8897792 w 11460104"/>
              <a:gd name="connsiteY885" fmla="*/ 2754447 h 13998542"/>
              <a:gd name="connsiteX886" fmla="*/ 8827308 w 11460104"/>
              <a:gd name="connsiteY886" fmla="*/ 2685721 h 13998542"/>
              <a:gd name="connsiteX887" fmla="*/ 8788863 w 11460104"/>
              <a:gd name="connsiteY887" fmla="*/ 2624630 h 13998542"/>
              <a:gd name="connsiteX888" fmla="*/ 8686341 w 11460104"/>
              <a:gd name="connsiteY888" fmla="*/ 2586449 h 13998542"/>
              <a:gd name="connsiteX889" fmla="*/ 8679934 w 11460104"/>
              <a:gd name="connsiteY889" fmla="*/ 2639902 h 13998542"/>
              <a:gd name="connsiteX890" fmla="*/ 8705564 w 11460104"/>
              <a:gd name="connsiteY890" fmla="*/ 2739174 h 13998542"/>
              <a:gd name="connsiteX891" fmla="*/ 8724787 w 11460104"/>
              <a:gd name="connsiteY891" fmla="*/ 2830809 h 13998542"/>
              <a:gd name="connsiteX892" fmla="*/ 8603042 w 11460104"/>
              <a:gd name="connsiteY892" fmla="*/ 2693356 h 13998542"/>
              <a:gd name="connsiteX893" fmla="*/ 8571004 w 11460104"/>
              <a:gd name="connsiteY893" fmla="*/ 2800264 h 13998542"/>
              <a:gd name="connsiteX894" fmla="*/ 8558189 w 11460104"/>
              <a:gd name="connsiteY894" fmla="*/ 2975898 h 13998542"/>
              <a:gd name="connsiteX895" fmla="*/ 8519743 w 11460104"/>
              <a:gd name="connsiteY895" fmla="*/ 2678084 h 13998542"/>
              <a:gd name="connsiteX896" fmla="*/ 8449260 w 11460104"/>
              <a:gd name="connsiteY896" fmla="*/ 2700993 h 13998542"/>
              <a:gd name="connsiteX897" fmla="*/ 8372369 w 11460104"/>
              <a:gd name="connsiteY897" fmla="*/ 2746810 h 13998542"/>
              <a:gd name="connsiteX898" fmla="*/ 8295477 w 11460104"/>
              <a:gd name="connsiteY898" fmla="*/ 2815536 h 13998542"/>
              <a:gd name="connsiteX899" fmla="*/ 8404407 w 11460104"/>
              <a:gd name="connsiteY899" fmla="*/ 3029351 h 13998542"/>
              <a:gd name="connsiteX900" fmla="*/ 8321108 w 11460104"/>
              <a:gd name="connsiteY900" fmla="*/ 2884263 h 13998542"/>
              <a:gd name="connsiteX901" fmla="*/ 8224994 w 11460104"/>
              <a:gd name="connsiteY901" fmla="*/ 2853717 h 13998542"/>
              <a:gd name="connsiteX902" fmla="*/ 8186548 w 11460104"/>
              <a:gd name="connsiteY902" fmla="*/ 3120987 h 13998542"/>
              <a:gd name="connsiteX903" fmla="*/ 8103249 w 11460104"/>
              <a:gd name="connsiteY903" fmla="*/ 3143895 h 13998542"/>
              <a:gd name="connsiteX904" fmla="*/ 8103249 w 11460104"/>
              <a:gd name="connsiteY904" fmla="*/ 3235530 h 13998542"/>
              <a:gd name="connsiteX905" fmla="*/ 8045580 w 11460104"/>
              <a:gd name="connsiteY905" fmla="*/ 3189713 h 13998542"/>
              <a:gd name="connsiteX906" fmla="*/ 7975097 w 11460104"/>
              <a:gd name="connsiteY906" fmla="*/ 3296620 h 13998542"/>
              <a:gd name="connsiteX907" fmla="*/ 7923836 w 11460104"/>
              <a:gd name="connsiteY907" fmla="*/ 3321915 h 13998542"/>
              <a:gd name="connsiteX908" fmla="*/ 7911021 w 11460104"/>
              <a:gd name="connsiteY908" fmla="*/ 3395891 h 13998542"/>
              <a:gd name="connsiteX909" fmla="*/ 7911021 w 11460104"/>
              <a:gd name="connsiteY909" fmla="*/ 3487526 h 13998542"/>
              <a:gd name="connsiteX910" fmla="*/ 7949467 w 11460104"/>
              <a:gd name="connsiteY910" fmla="*/ 3518072 h 13998542"/>
              <a:gd name="connsiteX911" fmla="*/ 7994320 w 11460104"/>
              <a:gd name="connsiteY911" fmla="*/ 3525708 h 13998542"/>
              <a:gd name="connsiteX912" fmla="*/ 8045581 w 11460104"/>
              <a:gd name="connsiteY912" fmla="*/ 3495163 h 13998542"/>
              <a:gd name="connsiteX913" fmla="*/ 8013542 w 11460104"/>
              <a:gd name="connsiteY913" fmla="*/ 3586798 h 13998542"/>
              <a:gd name="connsiteX914" fmla="*/ 7975097 w 11460104"/>
              <a:gd name="connsiteY914" fmla="*/ 3770068 h 13998542"/>
              <a:gd name="connsiteX915" fmla="*/ 7975097 w 11460104"/>
              <a:gd name="connsiteY915" fmla="*/ 3738923 h 13998542"/>
              <a:gd name="connsiteX916" fmla="*/ 7975497 w 11460104"/>
              <a:gd name="connsiteY916" fmla="*/ 3737137 h 13998542"/>
              <a:gd name="connsiteX917" fmla="*/ 7975097 w 11460104"/>
              <a:gd name="connsiteY917" fmla="*/ 3708978 h 13998542"/>
              <a:gd name="connsiteX918" fmla="*/ 7975097 w 11460104"/>
              <a:gd name="connsiteY918" fmla="*/ 3738923 h 13998542"/>
              <a:gd name="connsiteX919" fmla="*/ 7973746 w 11460104"/>
              <a:gd name="connsiteY919" fmla="*/ 3744952 h 13998542"/>
              <a:gd name="connsiteX920" fmla="*/ 7968689 w 11460104"/>
              <a:gd name="connsiteY920" fmla="*/ 3762432 h 13998542"/>
              <a:gd name="connsiteX921" fmla="*/ 7917429 w 11460104"/>
              <a:gd name="connsiteY921" fmla="*/ 3815886 h 13998542"/>
              <a:gd name="connsiteX922" fmla="*/ 7802092 w 11460104"/>
              <a:gd name="connsiteY922" fmla="*/ 3854067 h 13998542"/>
              <a:gd name="connsiteX923" fmla="*/ 7757239 w 11460104"/>
              <a:gd name="connsiteY923" fmla="*/ 3938066 h 13998542"/>
              <a:gd name="connsiteX924" fmla="*/ 7635494 w 11460104"/>
              <a:gd name="connsiteY924" fmla="*/ 4067882 h 13998542"/>
              <a:gd name="connsiteX925" fmla="*/ 7667532 w 11460104"/>
              <a:gd name="connsiteY925" fmla="*/ 4106064 h 13998542"/>
              <a:gd name="connsiteX926" fmla="*/ 7738016 w 11460104"/>
              <a:gd name="connsiteY926" fmla="*/ 4167153 h 13998542"/>
              <a:gd name="connsiteX927" fmla="*/ 7776462 w 11460104"/>
              <a:gd name="connsiteY927" fmla="*/ 4228243 h 13998542"/>
              <a:gd name="connsiteX928" fmla="*/ 7699570 w 11460104"/>
              <a:gd name="connsiteY928" fmla="*/ 4251152 h 13998542"/>
              <a:gd name="connsiteX929" fmla="*/ 7770054 w 11460104"/>
              <a:gd name="connsiteY929" fmla="*/ 4258788 h 13998542"/>
              <a:gd name="connsiteX930" fmla="*/ 7827722 w 11460104"/>
              <a:gd name="connsiteY930" fmla="*/ 4220607 h 13998542"/>
              <a:gd name="connsiteX931" fmla="*/ 7917429 w 11460104"/>
              <a:gd name="connsiteY931" fmla="*/ 4212970 h 13998542"/>
              <a:gd name="connsiteX932" fmla="*/ 7930244 w 11460104"/>
              <a:gd name="connsiteY932" fmla="*/ 4258788 h 13998542"/>
              <a:gd name="connsiteX933" fmla="*/ 7911021 w 11460104"/>
              <a:gd name="connsiteY933" fmla="*/ 4304605 h 13998542"/>
              <a:gd name="connsiteX934" fmla="*/ 7834130 w 11460104"/>
              <a:gd name="connsiteY934" fmla="*/ 4327514 h 13998542"/>
              <a:gd name="connsiteX935" fmla="*/ 7718793 w 11460104"/>
              <a:gd name="connsiteY935" fmla="*/ 4365696 h 13998542"/>
              <a:gd name="connsiteX936" fmla="*/ 7757239 w 11460104"/>
              <a:gd name="connsiteY936" fmla="*/ 4380968 h 13998542"/>
              <a:gd name="connsiteX937" fmla="*/ 7834130 w 11460104"/>
              <a:gd name="connsiteY937" fmla="*/ 4480240 h 13998542"/>
              <a:gd name="connsiteX938" fmla="*/ 7782869 w 11460104"/>
              <a:gd name="connsiteY938" fmla="*/ 4526057 h 13998542"/>
              <a:gd name="connsiteX939" fmla="*/ 7846945 w 11460104"/>
              <a:gd name="connsiteY939" fmla="*/ 4610056 h 13998542"/>
              <a:gd name="connsiteX940" fmla="*/ 7917429 w 11460104"/>
              <a:gd name="connsiteY940" fmla="*/ 4610056 h 13998542"/>
              <a:gd name="connsiteX941" fmla="*/ 8103249 w 11460104"/>
              <a:gd name="connsiteY941" fmla="*/ 4564239 h 13998542"/>
              <a:gd name="connsiteX942" fmla="*/ 8257032 w 11460104"/>
              <a:gd name="connsiteY942" fmla="*/ 4655873 h 13998542"/>
              <a:gd name="connsiteX943" fmla="*/ 8295477 w 11460104"/>
              <a:gd name="connsiteY943" fmla="*/ 4686418 h 13998542"/>
              <a:gd name="connsiteX944" fmla="*/ 8301885 w 11460104"/>
              <a:gd name="connsiteY944" fmla="*/ 4770417 h 13998542"/>
              <a:gd name="connsiteX945" fmla="*/ 8314700 w 11460104"/>
              <a:gd name="connsiteY945" fmla="*/ 4816235 h 13998542"/>
              <a:gd name="connsiteX946" fmla="*/ 8365961 w 11460104"/>
              <a:gd name="connsiteY946" fmla="*/ 4930778 h 13998542"/>
              <a:gd name="connsiteX947" fmla="*/ 8385184 w 11460104"/>
              <a:gd name="connsiteY947" fmla="*/ 5274410 h 13998542"/>
              <a:gd name="connsiteX948" fmla="*/ 8410814 w 11460104"/>
              <a:gd name="connsiteY948" fmla="*/ 5343137 h 13998542"/>
              <a:gd name="connsiteX949" fmla="*/ 8449260 w 11460104"/>
              <a:gd name="connsiteY949" fmla="*/ 5472952 h 13998542"/>
              <a:gd name="connsiteX950" fmla="*/ 8519743 w 11460104"/>
              <a:gd name="connsiteY950" fmla="*/ 5534043 h 13998542"/>
              <a:gd name="connsiteX951" fmla="*/ 8609450 w 11460104"/>
              <a:gd name="connsiteY951" fmla="*/ 5602769 h 13998542"/>
              <a:gd name="connsiteX952" fmla="*/ 8654303 w 11460104"/>
              <a:gd name="connsiteY952" fmla="*/ 5686768 h 13998542"/>
              <a:gd name="connsiteX953" fmla="*/ 8532559 w 11460104"/>
              <a:gd name="connsiteY953" fmla="*/ 5656222 h 13998542"/>
              <a:gd name="connsiteX954" fmla="*/ 8513336 w 11460104"/>
              <a:gd name="connsiteY954" fmla="*/ 5847129 h 13998542"/>
              <a:gd name="connsiteX955" fmla="*/ 8551781 w 11460104"/>
              <a:gd name="connsiteY955" fmla="*/ 6038035 h 13998542"/>
              <a:gd name="connsiteX956" fmla="*/ 8532559 w 11460104"/>
              <a:gd name="connsiteY956" fmla="*/ 6381667 h 13998542"/>
              <a:gd name="connsiteX957" fmla="*/ 8558189 w 11460104"/>
              <a:gd name="connsiteY957" fmla="*/ 6450393 h 13998542"/>
              <a:gd name="connsiteX958" fmla="*/ 8622265 w 11460104"/>
              <a:gd name="connsiteY958" fmla="*/ 6580209 h 13998542"/>
              <a:gd name="connsiteX959" fmla="*/ 8641488 w 11460104"/>
              <a:gd name="connsiteY959" fmla="*/ 6732935 h 13998542"/>
              <a:gd name="connsiteX960" fmla="*/ 8692749 w 11460104"/>
              <a:gd name="connsiteY960" fmla="*/ 6839842 h 13998542"/>
              <a:gd name="connsiteX961" fmla="*/ 8744010 w 11460104"/>
              <a:gd name="connsiteY961" fmla="*/ 6977294 h 13998542"/>
              <a:gd name="connsiteX962" fmla="*/ 8776047 w 11460104"/>
              <a:gd name="connsiteY962" fmla="*/ 7015475 h 13998542"/>
              <a:gd name="connsiteX963" fmla="*/ 8814493 w 11460104"/>
              <a:gd name="connsiteY963" fmla="*/ 7046021 h 13998542"/>
              <a:gd name="connsiteX964" fmla="*/ 8910607 w 11460104"/>
              <a:gd name="connsiteY964" fmla="*/ 7122383 h 13998542"/>
              <a:gd name="connsiteX965" fmla="*/ 9038759 w 11460104"/>
              <a:gd name="connsiteY965" fmla="*/ 7145292 h 13998542"/>
              <a:gd name="connsiteX966" fmla="*/ 9090020 w 11460104"/>
              <a:gd name="connsiteY966" fmla="*/ 6908568 h 13998542"/>
              <a:gd name="connsiteX967" fmla="*/ 9102835 w 11460104"/>
              <a:gd name="connsiteY967" fmla="*/ 6862751 h 13998542"/>
              <a:gd name="connsiteX968" fmla="*/ 9102835 w 11460104"/>
              <a:gd name="connsiteY968" fmla="*/ 6816933 h 13998542"/>
              <a:gd name="connsiteX969" fmla="*/ 9198949 w 11460104"/>
              <a:gd name="connsiteY969" fmla="*/ 6519119 h 13998542"/>
              <a:gd name="connsiteX970" fmla="*/ 9269433 w 11460104"/>
              <a:gd name="connsiteY970" fmla="*/ 6496211 h 13998542"/>
              <a:gd name="connsiteX971" fmla="*/ 9384770 w 11460104"/>
              <a:gd name="connsiteY971" fmla="*/ 6419848 h 13998542"/>
              <a:gd name="connsiteX972" fmla="*/ 9461661 w 11460104"/>
              <a:gd name="connsiteY972" fmla="*/ 6328213 h 13998542"/>
              <a:gd name="connsiteX973" fmla="*/ 9551368 w 11460104"/>
              <a:gd name="connsiteY973" fmla="*/ 6099125 h 13998542"/>
              <a:gd name="connsiteX974" fmla="*/ 9609036 w 11460104"/>
              <a:gd name="connsiteY974" fmla="*/ 6060944 h 13998542"/>
              <a:gd name="connsiteX975" fmla="*/ 9846118 w 11460104"/>
              <a:gd name="connsiteY975" fmla="*/ 5992217 h 13998542"/>
              <a:gd name="connsiteX976" fmla="*/ 9910194 w 11460104"/>
              <a:gd name="connsiteY976" fmla="*/ 5923491 h 13998542"/>
              <a:gd name="connsiteX977" fmla="*/ 9987085 w 11460104"/>
              <a:gd name="connsiteY977" fmla="*/ 5824220 h 13998542"/>
              <a:gd name="connsiteX978" fmla="*/ 10025530 w 11460104"/>
              <a:gd name="connsiteY978" fmla="*/ 5763131 h 13998542"/>
              <a:gd name="connsiteX979" fmla="*/ 9878155 w 11460104"/>
              <a:gd name="connsiteY979" fmla="*/ 5572224 h 13998542"/>
              <a:gd name="connsiteX980" fmla="*/ 9935824 w 11460104"/>
              <a:gd name="connsiteY980" fmla="*/ 5640950 h 13998542"/>
              <a:gd name="connsiteX981" fmla="*/ 9993492 w 11460104"/>
              <a:gd name="connsiteY981" fmla="*/ 5694404 h 13998542"/>
              <a:gd name="connsiteX982" fmla="*/ 10070383 w 11460104"/>
              <a:gd name="connsiteY982" fmla="*/ 5625678 h 13998542"/>
              <a:gd name="connsiteX983" fmla="*/ 10057568 w 11460104"/>
              <a:gd name="connsiteY983" fmla="*/ 5579860 h 13998542"/>
              <a:gd name="connsiteX984" fmla="*/ 10019123 w 11460104"/>
              <a:gd name="connsiteY984" fmla="*/ 5434772 h 13998542"/>
              <a:gd name="connsiteX985" fmla="*/ 10057568 w 11460104"/>
              <a:gd name="connsiteY985" fmla="*/ 5411862 h 13998542"/>
              <a:gd name="connsiteX986" fmla="*/ 10063976 w 11460104"/>
              <a:gd name="connsiteY986" fmla="*/ 5343136 h 13998542"/>
              <a:gd name="connsiteX987" fmla="*/ 10057568 w 11460104"/>
              <a:gd name="connsiteY987" fmla="*/ 5251501 h 13998542"/>
              <a:gd name="connsiteX988" fmla="*/ 9961454 w 11460104"/>
              <a:gd name="connsiteY988" fmla="*/ 5121685 h 13998542"/>
              <a:gd name="connsiteX989" fmla="*/ 10147275 w 11460104"/>
              <a:gd name="connsiteY989" fmla="*/ 5091140 h 13998542"/>
              <a:gd name="connsiteX990" fmla="*/ 10083199 w 11460104"/>
              <a:gd name="connsiteY990" fmla="*/ 4999505 h 13998542"/>
              <a:gd name="connsiteX991" fmla="*/ 10166498 w 11460104"/>
              <a:gd name="connsiteY991" fmla="*/ 4946051 h 13998542"/>
              <a:gd name="connsiteX992" fmla="*/ 10192128 w 11460104"/>
              <a:gd name="connsiteY992" fmla="*/ 4900233 h 13998542"/>
              <a:gd name="connsiteX993" fmla="*/ 10057568 w 11460104"/>
              <a:gd name="connsiteY993" fmla="*/ 4709327 h 13998542"/>
              <a:gd name="connsiteX994" fmla="*/ 10096014 w 11460104"/>
              <a:gd name="connsiteY994" fmla="*/ 4785690 h 13998542"/>
              <a:gd name="connsiteX995" fmla="*/ 10172905 w 11460104"/>
              <a:gd name="connsiteY995" fmla="*/ 4663510 h 13998542"/>
              <a:gd name="connsiteX996" fmla="*/ 10160090 w 11460104"/>
              <a:gd name="connsiteY996" fmla="*/ 4617693 h 13998542"/>
              <a:gd name="connsiteX997" fmla="*/ 10140867 w 11460104"/>
              <a:gd name="connsiteY997" fmla="*/ 4564238 h 13998542"/>
              <a:gd name="connsiteX998" fmla="*/ 10044753 w 11460104"/>
              <a:gd name="connsiteY998" fmla="*/ 4472603 h 13998542"/>
              <a:gd name="connsiteX999" fmla="*/ 10057568 w 11460104"/>
              <a:gd name="connsiteY999" fmla="*/ 4403877 h 13998542"/>
              <a:gd name="connsiteX1000" fmla="*/ 10217759 w 11460104"/>
              <a:gd name="connsiteY1000" fmla="*/ 4319878 h 13998542"/>
              <a:gd name="connsiteX1001" fmla="*/ 10076791 w 11460104"/>
              <a:gd name="connsiteY1001" fmla="*/ 4067882 h 13998542"/>
              <a:gd name="connsiteX1002" fmla="*/ 10096014 w 11460104"/>
              <a:gd name="connsiteY1002" fmla="*/ 3892248 h 13998542"/>
              <a:gd name="connsiteX1003" fmla="*/ 10179313 w 11460104"/>
              <a:gd name="connsiteY1003" fmla="*/ 3907521 h 13998542"/>
              <a:gd name="connsiteX1004" fmla="*/ 10172905 w 11460104"/>
              <a:gd name="connsiteY1004" fmla="*/ 3724251 h 13998542"/>
              <a:gd name="connsiteX1005" fmla="*/ 10166497 w 11460104"/>
              <a:gd name="connsiteY1005" fmla="*/ 3579162 h 13998542"/>
              <a:gd name="connsiteX1006" fmla="*/ 10185721 w 11460104"/>
              <a:gd name="connsiteY1006" fmla="*/ 3594434 h 13998542"/>
              <a:gd name="connsiteX1007" fmla="*/ 10243389 w 11460104"/>
              <a:gd name="connsiteY1007" fmla="*/ 3602071 h 13998542"/>
              <a:gd name="connsiteX1008" fmla="*/ 10275427 w 11460104"/>
              <a:gd name="connsiteY1008" fmla="*/ 3518072 h 13998542"/>
              <a:gd name="connsiteX1009" fmla="*/ 10160090 w 11460104"/>
              <a:gd name="connsiteY1009" fmla="*/ 3502800 h 13998542"/>
              <a:gd name="connsiteX1010" fmla="*/ 10166497 w 11460104"/>
              <a:gd name="connsiteY1010" fmla="*/ 3449345 h 13998542"/>
              <a:gd name="connsiteX1011" fmla="*/ 10307465 w 11460104"/>
              <a:gd name="connsiteY1011" fmla="*/ 3434073 h 13998542"/>
              <a:gd name="connsiteX1012" fmla="*/ 10327289 w 11460104"/>
              <a:gd name="connsiteY1012" fmla="*/ 3327762 h 13998542"/>
              <a:gd name="connsiteX1013" fmla="*/ 10327353 w 11460104"/>
              <a:gd name="connsiteY1013" fmla="*/ 3326667 h 13998542"/>
              <a:gd name="connsiteX1014" fmla="*/ 10354176 w 11460104"/>
              <a:gd name="connsiteY1014" fmla="*/ 3322744 h 13998542"/>
              <a:gd name="connsiteX1015" fmla="*/ 10409986 w 11460104"/>
              <a:gd name="connsiteY1015" fmla="*/ 3220258 h 13998542"/>
              <a:gd name="connsiteX1016" fmla="*/ 10461247 w 11460104"/>
              <a:gd name="connsiteY1016" fmla="*/ 3098078 h 13998542"/>
              <a:gd name="connsiteX1017" fmla="*/ 10531731 w 11460104"/>
              <a:gd name="connsiteY1017" fmla="*/ 3021715 h 13998542"/>
              <a:gd name="connsiteX1018" fmla="*/ 10506101 w 11460104"/>
              <a:gd name="connsiteY1018" fmla="*/ 2899535 h 13998542"/>
              <a:gd name="connsiteX1019" fmla="*/ 10467655 w 11460104"/>
              <a:gd name="connsiteY1019" fmla="*/ 2884263 h 13998542"/>
              <a:gd name="connsiteX1020" fmla="*/ 10365133 w 11460104"/>
              <a:gd name="connsiteY1020" fmla="*/ 2846082 h 13998542"/>
              <a:gd name="connsiteX1021" fmla="*/ 10275426 w 11460104"/>
              <a:gd name="connsiteY1021" fmla="*/ 2914808 h 13998542"/>
              <a:gd name="connsiteX1022" fmla="*/ 10234578 w 11460104"/>
              <a:gd name="connsiteY1022" fmla="*/ 2895717 h 13998542"/>
              <a:gd name="connsiteX1023" fmla="*/ 10227999 w 11460104"/>
              <a:gd name="connsiteY1023" fmla="*/ 2892468 h 13998542"/>
              <a:gd name="connsiteX1024" fmla="*/ 10227520 w 11460104"/>
              <a:gd name="connsiteY1024" fmla="*/ 2884561 h 13998542"/>
              <a:gd name="connsiteX1025" fmla="*/ 10217759 w 11460104"/>
              <a:gd name="connsiteY1025" fmla="*/ 2868990 h 13998542"/>
              <a:gd name="connsiteX1026" fmla="*/ 10184519 w 11460104"/>
              <a:gd name="connsiteY1026" fmla="*/ 2816968 h 13998542"/>
              <a:gd name="connsiteX1027" fmla="*/ 10183873 w 11460104"/>
              <a:gd name="connsiteY1027" fmla="*/ 2815500 h 13998542"/>
              <a:gd name="connsiteX1028" fmla="*/ 10181866 w 11460104"/>
              <a:gd name="connsiteY1028" fmla="*/ 2790182 h 13998542"/>
              <a:gd name="connsiteX1029" fmla="*/ 10172905 w 11460104"/>
              <a:gd name="connsiteY1029" fmla="*/ 2762083 h 13998542"/>
              <a:gd name="connsiteX1030" fmla="*/ 10173155 w 11460104"/>
              <a:gd name="connsiteY1030" fmla="*/ 2791136 h 13998542"/>
              <a:gd name="connsiteX1031" fmla="*/ 10183873 w 11460104"/>
              <a:gd name="connsiteY1031" fmla="*/ 2815500 h 13998542"/>
              <a:gd name="connsiteX1032" fmla="*/ 10184519 w 11460104"/>
              <a:gd name="connsiteY1032" fmla="*/ 2823650 h 13998542"/>
              <a:gd name="connsiteX1033" fmla="*/ 10198535 w 11460104"/>
              <a:gd name="connsiteY1033" fmla="*/ 2876627 h 13998542"/>
              <a:gd name="connsiteX1034" fmla="*/ 10212352 w 11460104"/>
              <a:gd name="connsiteY1034" fmla="*/ 2884740 h 13998542"/>
              <a:gd name="connsiteX1035" fmla="*/ 10227999 w 11460104"/>
              <a:gd name="connsiteY1035" fmla="*/ 2892468 h 13998542"/>
              <a:gd name="connsiteX1036" fmla="*/ 10228571 w 11460104"/>
              <a:gd name="connsiteY1036" fmla="*/ 2901921 h 13998542"/>
              <a:gd name="connsiteX1037" fmla="*/ 10236981 w 11460104"/>
              <a:gd name="connsiteY1037" fmla="*/ 2937717 h 13998542"/>
              <a:gd name="connsiteX1038" fmla="*/ 10256204 w 11460104"/>
              <a:gd name="connsiteY1038" fmla="*/ 2945353 h 13998542"/>
              <a:gd name="connsiteX1039" fmla="*/ 10262612 w 11460104"/>
              <a:gd name="connsiteY1039" fmla="*/ 2968261 h 13998542"/>
              <a:gd name="connsiteX1040" fmla="*/ 10275427 w 11460104"/>
              <a:gd name="connsiteY1040" fmla="*/ 3006443 h 13998542"/>
              <a:gd name="connsiteX1041" fmla="*/ 10249796 w 11460104"/>
              <a:gd name="connsiteY1041" fmla="*/ 2983534 h 13998542"/>
              <a:gd name="connsiteX1042" fmla="*/ 10198536 w 11460104"/>
              <a:gd name="connsiteY1042" fmla="*/ 2991170 h 13998542"/>
              <a:gd name="connsiteX1043" fmla="*/ 10147275 w 11460104"/>
              <a:gd name="connsiteY1043" fmla="*/ 2930081 h 13998542"/>
              <a:gd name="connsiteX1044" fmla="*/ 10134459 w 11460104"/>
              <a:gd name="connsiteY1044" fmla="*/ 2975898 h 13998542"/>
              <a:gd name="connsiteX1045" fmla="*/ 10096014 w 11460104"/>
              <a:gd name="connsiteY1045" fmla="*/ 3090442 h 13998542"/>
              <a:gd name="connsiteX1046" fmla="*/ 10057568 w 11460104"/>
              <a:gd name="connsiteY1046" fmla="*/ 3120987 h 13998542"/>
              <a:gd name="connsiteX1047" fmla="*/ 10006307 w 11460104"/>
              <a:gd name="connsiteY1047" fmla="*/ 3258439 h 13998542"/>
              <a:gd name="connsiteX1048" fmla="*/ 9980677 w 11460104"/>
              <a:gd name="connsiteY1048" fmla="*/ 3327166 h 13998542"/>
              <a:gd name="connsiteX1049" fmla="*/ 9955047 w 11460104"/>
              <a:gd name="connsiteY1049" fmla="*/ 3273711 h 13998542"/>
              <a:gd name="connsiteX1050" fmla="*/ 9999900 w 11460104"/>
              <a:gd name="connsiteY1050" fmla="*/ 3136260 h 13998542"/>
              <a:gd name="connsiteX1051" fmla="*/ 10070384 w 11460104"/>
              <a:gd name="connsiteY1051" fmla="*/ 3059897 h 13998542"/>
              <a:gd name="connsiteX1052" fmla="*/ 10044753 w 11460104"/>
              <a:gd name="connsiteY1052" fmla="*/ 2777355 h 13998542"/>
              <a:gd name="connsiteX1053" fmla="*/ 10006308 w 11460104"/>
              <a:gd name="connsiteY1053" fmla="*/ 2807901 h 13998542"/>
              <a:gd name="connsiteX1054" fmla="*/ 9955047 w 11460104"/>
              <a:gd name="connsiteY1054" fmla="*/ 2930080 h 13998542"/>
              <a:gd name="connsiteX1055" fmla="*/ 9890970 w 11460104"/>
              <a:gd name="connsiteY1055" fmla="*/ 2937717 h 13998542"/>
              <a:gd name="connsiteX1056" fmla="*/ 9833302 w 11460104"/>
              <a:gd name="connsiteY1056" fmla="*/ 2983534 h 13998542"/>
              <a:gd name="connsiteX1057" fmla="*/ 9839710 w 11460104"/>
              <a:gd name="connsiteY1057" fmla="*/ 2930081 h 13998542"/>
              <a:gd name="connsiteX1058" fmla="*/ 9903786 w 11460104"/>
              <a:gd name="connsiteY1058" fmla="*/ 2800264 h 13998542"/>
              <a:gd name="connsiteX1059" fmla="*/ 9762818 w 11460104"/>
              <a:gd name="connsiteY1059" fmla="*/ 2784992 h 13998542"/>
              <a:gd name="connsiteX1060" fmla="*/ 9570590 w 11460104"/>
              <a:gd name="connsiteY1060" fmla="*/ 2891899 h 13998542"/>
              <a:gd name="connsiteX1061" fmla="*/ 9525737 w 11460104"/>
              <a:gd name="connsiteY1061" fmla="*/ 2891899 h 13998542"/>
              <a:gd name="connsiteX1062" fmla="*/ 9576998 w 11460104"/>
              <a:gd name="connsiteY1062" fmla="*/ 2777355 h 13998542"/>
              <a:gd name="connsiteX1063" fmla="*/ 9634666 w 11460104"/>
              <a:gd name="connsiteY1063" fmla="*/ 2754447 h 13998542"/>
              <a:gd name="connsiteX1064" fmla="*/ 9653889 w 11460104"/>
              <a:gd name="connsiteY1064" fmla="*/ 2739174 h 13998542"/>
              <a:gd name="connsiteX1065" fmla="*/ 9692335 w 11460104"/>
              <a:gd name="connsiteY1065" fmla="*/ 2723901 h 13998542"/>
              <a:gd name="connsiteX1066" fmla="*/ 9884563 w 11460104"/>
              <a:gd name="connsiteY1066" fmla="*/ 2731538 h 13998542"/>
              <a:gd name="connsiteX1067" fmla="*/ 9923008 w 11460104"/>
              <a:gd name="connsiteY1067" fmla="*/ 2700992 h 13998542"/>
              <a:gd name="connsiteX1068" fmla="*/ 9961454 w 11460104"/>
              <a:gd name="connsiteY1068" fmla="*/ 2685720 h 13998542"/>
              <a:gd name="connsiteX1069" fmla="*/ 10025530 w 11460104"/>
              <a:gd name="connsiteY1069" fmla="*/ 2616994 h 13998542"/>
              <a:gd name="connsiteX1070" fmla="*/ 10051161 w 11460104"/>
              <a:gd name="connsiteY1070" fmla="*/ 2609358 h 13998542"/>
              <a:gd name="connsiteX1071" fmla="*/ 10057569 w 11460104"/>
              <a:gd name="connsiteY1071" fmla="*/ 2494814 h 13998542"/>
              <a:gd name="connsiteX1072" fmla="*/ 9993492 w 11460104"/>
              <a:gd name="connsiteY1072" fmla="*/ 2448996 h 13998542"/>
              <a:gd name="connsiteX1073" fmla="*/ 9967862 w 11460104"/>
              <a:gd name="connsiteY1073" fmla="*/ 2426087 h 13998542"/>
              <a:gd name="connsiteX1074" fmla="*/ 9916601 w 11460104"/>
              <a:gd name="connsiteY1074" fmla="*/ 2418451 h 13998542"/>
              <a:gd name="connsiteX1075" fmla="*/ 9878155 w 11460104"/>
              <a:gd name="connsiteY1075" fmla="*/ 2441360 h 13998542"/>
              <a:gd name="connsiteX1076" fmla="*/ 9884563 w 11460104"/>
              <a:gd name="connsiteY1076" fmla="*/ 2403179 h 13998542"/>
              <a:gd name="connsiteX1077" fmla="*/ 9890970 w 11460104"/>
              <a:gd name="connsiteY1077" fmla="*/ 2319180 h 13998542"/>
              <a:gd name="connsiteX1078" fmla="*/ 9775634 w 11460104"/>
              <a:gd name="connsiteY1078" fmla="*/ 2326816 h 13998542"/>
              <a:gd name="connsiteX1079" fmla="*/ 9609036 w 11460104"/>
              <a:gd name="connsiteY1079" fmla="*/ 2380270 h 13998542"/>
              <a:gd name="connsiteX1080" fmla="*/ 9493699 w 11460104"/>
              <a:gd name="connsiteY1080" fmla="*/ 2510086 h 13998542"/>
              <a:gd name="connsiteX1081" fmla="*/ 9454627 w 11460104"/>
              <a:gd name="connsiteY1081" fmla="*/ 2396288 h 13998542"/>
              <a:gd name="connsiteX1082" fmla="*/ 9425556 w 11460104"/>
              <a:gd name="connsiteY1082" fmla="*/ 2388531 h 13998542"/>
              <a:gd name="connsiteX1083" fmla="*/ 9436031 w 11460104"/>
              <a:gd name="connsiteY1083" fmla="*/ 2372634 h 13998542"/>
              <a:gd name="connsiteX1084" fmla="*/ 9602628 w 11460104"/>
              <a:gd name="connsiteY1084" fmla="*/ 2288635 h 13998542"/>
              <a:gd name="connsiteX1085" fmla="*/ 9769226 w 11460104"/>
              <a:gd name="connsiteY1085" fmla="*/ 2273363 h 13998542"/>
              <a:gd name="connsiteX1086" fmla="*/ 9852525 w 11460104"/>
              <a:gd name="connsiteY1086" fmla="*/ 2204636 h 13998542"/>
              <a:gd name="connsiteX1087" fmla="*/ 9837707 w 11460104"/>
              <a:gd name="connsiteY1087" fmla="*/ 2185546 h 13998542"/>
              <a:gd name="connsiteX1088" fmla="*/ 9829829 w 11460104"/>
              <a:gd name="connsiteY1088" fmla="*/ 2176812 h 13998542"/>
              <a:gd name="connsiteX1089" fmla="*/ 11460104 w 11460104"/>
              <a:gd name="connsiteY1089" fmla="*/ 2950064 h 13998542"/>
              <a:gd name="connsiteX1090" fmla="*/ 6219724 w 11460104"/>
              <a:gd name="connsiteY1090" fmla="*/ 13998542 h 1399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</a:cxnLst>
            <a:rect l="l" t="t" r="r" b="b"/>
            <a:pathLst>
              <a:path w="11460104" h="13998542">
                <a:moveTo>
                  <a:pt x="10262504" y="3321966"/>
                </a:moveTo>
                <a:lnTo>
                  <a:pt x="10262612" y="3321915"/>
                </a:lnTo>
                <a:cubicBezTo>
                  <a:pt x="10286640" y="3309029"/>
                  <a:pt x="10310669" y="3296620"/>
                  <a:pt x="10326688" y="3311893"/>
                </a:cubicBezTo>
                <a:cubicBezTo>
                  <a:pt x="10327489" y="3311893"/>
                  <a:pt x="10327889" y="3313444"/>
                  <a:pt x="10327965" y="3316203"/>
                </a:cubicBezTo>
                <a:lnTo>
                  <a:pt x="10327353" y="3326667"/>
                </a:lnTo>
                <a:lnTo>
                  <a:pt x="10320681" y="3327643"/>
                </a:lnTo>
                <a:cubicBezTo>
                  <a:pt x="10308566" y="3327762"/>
                  <a:pt x="10295576" y="3326599"/>
                  <a:pt x="10281928" y="3324846"/>
                </a:cubicBezTo>
                <a:close/>
                <a:moveTo>
                  <a:pt x="10103122" y="3369343"/>
                </a:moveTo>
                <a:cubicBezTo>
                  <a:pt x="10101621" y="3364153"/>
                  <a:pt x="10142469" y="3317620"/>
                  <a:pt x="10147275" y="3311893"/>
                </a:cubicBezTo>
                <a:cubicBezTo>
                  <a:pt x="10178512" y="3309984"/>
                  <a:pt x="10209749" y="3314040"/>
                  <a:pt x="10239234" y="3318515"/>
                </a:cubicBezTo>
                <a:lnTo>
                  <a:pt x="10262504" y="3321966"/>
                </a:lnTo>
                <a:lnTo>
                  <a:pt x="10227570" y="3338202"/>
                </a:lnTo>
                <a:cubicBezTo>
                  <a:pt x="10216557" y="3341483"/>
                  <a:pt x="10206545" y="3341483"/>
                  <a:pt x="10198536" y="3334802"/>
                </a:cubicBezTo>
                <a:cubicBezTo>
                  <a:pt x="10156886" y="3327165"/>
                  <a:pt x="10144071" y="3315711"/>
                  <a:pt x="10121644" y="3357710"/>
                </a:cubicBezTo>
                <a:cubicBezTo>
                  <a:pt x="10108829" y="3368211"/>
                  <a:pt x="10103623" y="3371074"/>
                  <a:pt x="10103122" y="3369343"/>
                </a:cubicBezTo>
                <a:close/>
                <a:moveTo>
                  <a:pt x="9579745" y="2058195"/>
                </a:moveTo>
                <a:lnTo>
                  <a:pt x="9602628" y="2056207"/>
                </a:lnTo>
                <a:cubicBezTo>
                  <a:pt x="9614643" y="2058593"/>
                  <a:pt x="9626657" y="2063366"/>
                  <a:pt x="9641074" y="2067183"/>
                </a:cubicBezTo>
                <a:cubicBezTo>
                  <a:pt x="9695539" y="2113002"/>
                  <a:pt x="9766022" y="2124455"/>
                  <a:pt x="9820487" y="2166455"/>
                </a:cubicBezTo>
                <a:lnTo>
                  <a:pt x="9829829" y="2176812"/>
                </a:lnTo>
                <a:close/>
                <a:moveTo>
                  <a:pt x="9418470" y="2395114"/>
                </a:moveTo>
                <a:lnTo>
                  <a:pt x="9423215" y="2387906"/>
                </a:lnTo>
                <a:lnTo>
                  <a:pt x="9425556" y="2388531"/>
                </a:lnTo>
                <a:lnTo>
                  <a:pt x="9424317" y="2390412"/>
                </a:lnTo>
                <a:close/>
                <a:moveTo>
                  <a:pt x="9378362" y="2410815"/>
                </a:moveTo>
                <a:cubicBezTo>
                  <a:pt x="9392779" y="2406997"/>
                  <a:pt x="9403192" y="2405088"/>
                  <a:pt x="9412002" y="2400315"/>
                </a:cubicBezTo>
                <a:lnTo>
                  <a:pt x="9418470" y="2395114"/>
                </a:lnTo>
                <a:lnTo>
                  <a:pt x="9409900" y="2408130"/>
                </a:lnTo>
                <a:cubicBezTo>
                  <a:pt x="9399388" y="2427281"/>
                  <a:pt x="9395182" y="2439451"/>
                  <a:pt x="9378362" y="2410815"/>
                </a:cubicBezTo>
                <a:close/>
                <a:moveTo>
                  <a:pt x="9102149" y="2497488"/>
                </a:moveTo>
                <a:lnTo>
                  <a:pt x="9108041" y="2501496"/>
                </a:lnTo>
                <a:cubicBezTo>
                  <a:pt x="9119656" y="2510086"/>
                  <a:pt x="9128466" y="2517722"/>
                  <a:pt x="9128466" y="2517722"/>
                </a:cubicBezTo>
                <a:cubicBezTo>
                  <a:pt x="9118855" y="2563540"/>
                  <a:pt x="9118254" y="2532040"/>
                  <a:pt x="9106390" y="2503763"/>
                </a:cubicBezTo>
                <a:close/>
                <a:moveTo>
                  <a:pt x="9112559" y="2442806"/>
                </a:moveTo>
                <a:lnTo>
                  <a:pt x="9122709" y="2446610"/>
                </a:lnTo>
                <a:cubicBezTo>
                  <a:pt x="9128065" y="2448758"/>
                  <a:pt x="9135674" y="2451860"/>
                  <a:pt x="9147688" y="2456633"/>
                </a:cubicBezTo>
                <a:cubicBezTo>
                  <a:pt x="9154096" y="2460450"/>
                  <a:pt x="9166912" y="2464269"/>
                  <a:pt x="9166912" y="2464269"/>
                </a:cubicBezTo>
                <a:cubicBezTo>
                  <a:pt x="9170115" y="2471905"/>
                  <a:pt x="9186134" y="2483359"/>
                  <a:pt x="9179726" y="2487178"/>
                </a:cubicBezTo>
                <a:cubicBezTo>
                  <a:pt x="9170115" y="2494814"/>
                  <a:pt x="9151693" y="2481451"/>
                  <a:pt x="9134473" y="2465223"/>
                </a:cubicBezTo>
                <a:close/>
                <a:moveTo>
                  <a:pt x="7682078" y="2252555"/>
                </a:moveTo>
                <a:lnTo>
                  <a:pt x="7697643" y="2238000"/>
                </a:lnTo>
                <a:cubicBezTo>
                  <a:pt x="7702738" y="2235269"/>
                  <a:pt x="7707371" y="2235967"/>
                  <a:pt x="7711077" y="2243403"/>
                </a:cubicBezTo>
                <a:cubicBezTo>
                  <a:pt x="7711448" y="2243403"/>
                  <a:pt x="7711633" y="2244913"/>
                  <a:pt x="7711668" y="2247600"/>
                </a:cubicBezTo>
                <a:lnTo>
                  <a:pt x="7711384" y="2257790"/>
                </a:lnTo>
                <a:lnTo>
                  <a:pt x="7708297" y="2258740"/>
                </a:lnTo>
                <a:close/>
                <a:moveTo>
                  <a:pt x="7628063" y="2243402"/>
                </a:moveTo>
                <a:cubicBezTo>
                  <a:pt x="7642517" y="2241543"/>
                  <a:pt x="7656970" y="2245494"/>
                  <a:pt x="7670612" y="2249851"/>
                </a:cubicBezTo>
                <a:lnTo>
                  <a:pt x="7682078" y="2252555"/>
                </a:lnTo>
                <a:lnTo>
                  <a:pt x="7681429" y="2253163"/>
                </a:lnTo>
                <a:cubicBezTo>
                  <a:pt x="7670311" y="2265711"/>
                  <a:pt x="7659193" y="2278725"/>
                  <a:pt x="7651781" y="2265711"/>
                </a:cubicBezTo>
                <a:cubicBezTo>
                  <a:pt x="7632511" y="2258275"/>
                  <a:pt x="7626581" y="2247121"/>
                  <a:pt x="7616204" y="2288020"/>
                </a:cubicBezTo>
                <a:cubicBezTo>
                  <a:pt x="7592486" y="2328920"/>
                  <a:pt x="7625099" y="2250839"/>
                  <a:pt x="7628063" y="2243402"/>
                </a:cubicBezTo>
                <a:close/>
                <a:moveTo>
                  <a:pt x="7293045" y="1343618"/>
                </a:moveTo>
                <a:lnTo>
                  <a:pt x="7294049" y="1344476"/>
                </a:lnTo>
                <a:lnTo>
                  <a:pt x="7293554" y="1346059"/>
                </a:lnTo>
                <a:lnTo>
                  <a:pt x="7290849" y="1350637"/>
                </a:lnTo>
                <a:close/>
                <a:moveTo>
                  <a:pt x="7272291" y="1365927"/>
                </a:moveTo>
                <a:cubicBezTo>
                  <a:pt x="7278962" y="1362209"/>
                  <a:pt x="7283780" y="1360350"/>
                  <a:pt x="7287856" y="1355702"/>
                </a:cubicBezTo>
                <a:lnTo>
                  <a:pt x="7290849" y="1350637"/>
                </a:lnTo>
                <a:lnTo>
                  <a:pt x="7286883" y="1363313"/>
                </a:lnTo>
                <a:cubicBezTo>
                  <a:pt x="7282020" y="1381962"/>
                  <a:pt x="7280074" y="1393813"/>
                  <a:pt x="7272291" y="1365927"/>
                </a:cubicBezTo>
                <a:close/>
                <a:moveTo>
                  <a:pt x="7144766" y="1451195"/>
                </a:moveTo>
                <a:lnTo>
                  <a:pt x="7147215" y="1454232"/>
                </a:lnTo>
                <a:cubicBezTo>
                  <a:pt x="7152589" y="1462598"/>
                  <a:pt x="7156665" y="1470035"/>
                  <a:pt x="7156665" y="1470035"/>
                </a:cubicBezTo>
                <a:cubicBezTo>
                  <a:pt x="7152218" y="1514652"/>
                  <a:pt x="7151940" y="1483977"/>
                  <a:pt x="7146451" y="1456440"/>
                </a:cubicBezTo>
                <a:close/>
                <a:moveTo>
                  <a:pt x="7149305" y="1397081"/>
                </a:moveTo>
                <a:lnTo>
                  <a:pt x="7154001" y="1400785"/>
                </a:lnTo>
                <a:cubicBezTo>
                  <a:pt x="7156480" y="1402876"/>
                  <a:pt x="7160001" y="1405897"/>
                  <a:pt x="7165559" y="1410545"/>
                </a:cubicBezTo>
                <a:cubicBezTo>
                  <a:pt x="7168524" y="1414263"/>
                  <a:pt x="7174454" y="1417981"/>
                  <a:pt x="7174454" y="1417981"/>
                </a:cubicBezTo>
                <a:cubicBezTo>
                  <a:pt x="7175936" y="1425417"/>
                  <a:pt x="7183348" y="1436571"/>
                  <a:pt x="7180384" y="1440289"/>
                </a:cubicBezTo>
                <a:cubicBezTo>
                  <a:pt x="7175937" y="1447725"/>
                  <a:pt x="7167413" y="1434712"/>
                  <a:pt x="7159445" y="1418910"/>
                </a:cubicBezTo>
                <a:close/>
                <a:moveTo>
                  <a:pt x="6771246" y="1702882"/>
                </a:moveTo>
                <a:cubicBezTo>
                  <a:pt x="6763463" y="1709853"/>
                  <a:pt x="6761610" y="1724725"/>
                  <a:pt x="6771245" y="1760047"/>
                </a:cubicBezTo>
                <a:cubicBezTo>
                  <a:pt x="6796446" y="1800947"/>
                  <a:pt x="6803858" y="1864154"/>
                  <a:pt x="6821646" y="1968262"/>
                </a:cubicBezTo>
                <a:cubicBezTo>
                  <a:pt x="6805340" y="1938517"/>
                  <a:pt x="6789034" y="1871591"/>
                  <a:pt x="6783105" y="1826973"/>
                </a:cubicBezTo>
                <a:cubicBezTo>
                  <a:pt x="6763834" y="1812101"/>
                  <a:pt x="6762351" y="1804665"/>
                  <a:pt x="6738633" y="1797228"/>
                </a:cubicBezTo>
                <a:cubicBezTo>
                  <a:pt x="6710468" y="1867873"/>
                  <a:pt x="6741598" y="1975699"/>
                  <a:pt x="6720844" y="2057497"/>
                </a:cubicBezTo>
                <a:cubicBezTo>
                  <a:pt x="6707503" y="2061215"/>
                  <a:pt x="6685267" y="2046342"/>
                  <a:pt x="6682303" y="2079805"/>
                </a:cubicBezTo>
                <a:cubicBezTo>
                  <a:pt x="6680820" y="2105832"/>
                  <a:pt x="6689714" y="2224812"/>
                  <a:pt x="6682302" y="2169040"/>
                </a:cubicBezTo>
                <a:cubicBezTo>
                  <a:pt x="6668961" y="2157886"/>
                  <a:pt x="6664514" y="2090960"/>
                  <a:pt x="6655619" y="2124423"/>
                </a:cubicBezTo>
                <a:cubicBezTo>
                  <a:pt x="6637831" y="2154167"/>
                  <a:pt x="6625972" y="2176477"/>
                  <a:pt x="6623007" y="2228530"/>
                </a:cubicBezTo>
                <a:cubicBezTo>
                  <a:pt x="6585947" y="2239685"/>
                  <a:pt x="6606701" y="2250839"/>
                  <a:pt x="6593359" y="2325202"/>
                </a:cubicBezTo>
                <a:cubicBezTo>
                  <a:pt x="6585947" y="2366100"/>
                  <a:pt x="6581500" y="2373537"/>
                  <a:pt x="6593359" y="2414436"/>
                </a:cubicBezTo>
                <a:cubicBezTo>
                  <a:pt x="6593359" y="2414436"/>
                  <a:pt x="6605218" y="2436745"/>
                  <a:pt x="6611148" y="2444181"/>
                </a:cubicBezTo>
                <a:cubicBezTo>
                  <a:pt x="6617077" y="2451618"/>
                  <a:pt x="6624489" y="2447899"/>
                  <a:pt x="6631901" y="2451617"/>
                </a:cubicBezTo>
                <a:cubicBezTo>
                  <a:pt x="6645243" y="2440463"/>
                  <a:pt x="6649690" y="2373536"/>
                  <a:pt x="6655620" y="2421872"/>
                </a:cubicBezTo>
                <a:cubicBezTo>
                  <a:pt x="6649690" y="2470207"/>
                  <a:pt x="6643760" y="2447899"/>
                  <a:pt x="6640796" y="2511107"/>
                </a:cubicBezTo>
                <a:cubicBezTo>
                  <a:pt x="6625971" y="2563161"/>
                  <a:pt x="6625972" y="2626368"/>
                  <a:pt x="6623007" y="2689577"/>
                </a:cubicBezTo>
                <a:lnTo>
                  <a:pt x="6623007" y="2659248"/>
                </a:lnTo>
                <a:lnTo>
                  <a:pt x="6623192" y="2657508"/>
                </a:lnTo>
                <a:cubicBezTo>
                  <a:pt x="6623378" y="2653325"/>
                  <a:pt x="6623007" y="2648677"/>
                  <a:pt x="6623007" y="2630087"/>
                </a:cubicBezTo>
                <a:lnTo>
                  <a:pt x="6623007" y="2659248"/>
                </a:lnTo>
                <a:lnTo>
                  <a:pt x="6622382" y="2665118"/>
                </a:lnTo>
                <a:cubicBezTo>
                  <a:pt x="6621895" y="2668662"/>
                  <a:pt x="6621155" y="2673775"/>
                  <a:pt x="6620042" y="2682140"/>
                </a:cubicBezTo>
                <a:cubicBezTo>
                  <a:pt x="6609665" y="2697013"/>
                  <a:pt x="6606701" y="2719322"/>
                  <a:pt x="6596324" y="2734194"/>
                </a:cubicBezTo>
                <a:cubicBezTo>
                  <a:pt x="6571124" y="2737912"/>
                  <a:pt x="6556300" y="2723040"/>
                  <a:pt x="6542958" y="2771375"/>
                </a:cubicBezTo>
                <a:cubicBezTo>
                  <a:pt x="6528135" y="2797402"/>
                  <a:pt x="6537029" y="2827147"/>
                  <a:pt x="6522205" y="2853174"/>
                </a:cubicBezTo>
                <a:cubicBezTo>
                  <a:pt x="6482181" y="2860610"/>
                  <a:pt x="6458463" y="2853174"/>
                  <a:pt x="6465874" y="2979590"/>
                </a:cubicBezTo>
                <a:cubicBezTo>
                  <a:pt x="6467357" y="2998180"/>
                  <a:pt x="6476251" y="3001898"/>
                  <a:pt x="6480698" y="3016771"/>
                </a:cubicBezTo>
                <a:cubicBezTo>
                  <a:pt x="6492558" y="3027926"/>
                  <a:pt x="6504416" y="3053952"/>
                  <a:pt x="6513311" y="3076261"/>
                </a:cubicBezTo>
                <a:cubicBezTo>
                  <a:pt x="6526652" y="3087415"/>
                  <a:pt x="6528135" y="3102287"/>
                  <a:pt x="6531099" y="3135750"/>
                </a:cubicBezTo>
                <a:cubicBezTo>
                  <a:pt x="6531099" y="3135750"/>
                  <a:pt x="6486628" y="3135750"/>
                  <a:pt x="6495522" y="3158059"/>
                </a:cubicBezTo>
                <a:cubicBezTo>
                  <a:pt x="6502934" y="3176650"/>
                  <a:pt x="6517758" y="3161777"/>
                  <a:pt x="6528135" y="3165496"/>
                </a:cubicBezTo>
                <a:cubicBezTo>
                  <a:pt x="6544440" y="3150624"/>
                  <a:pt x="6534065" y="3161777"/>
                  <a:pt x="6554818" y="3128314"/>
                </a:cubicBezTo>
                <a:cubicBezTo>
                  <a:pt x="6580018" y="3139469"/>
                  <a:pt x="6566677" y="3139469"/>
                  <a:pt x="6596324" y="3120878"/>
                </a:cubicBezTo>
                <a:cubicBezTo>
                  <a:pt x="6596324" y="3120878"/>
                  <a:pt x="6602254" y="3150623"/>
                  <a:pt x="6602253" y="3165496"/>
                </a:cubicBezTo>
                <a:cubicBezTo>
                  <a:pt x="6602254" y="3180368"/>
                  <a:pt x="6596324" y="3202676"/>
                  <a:pt x="6593359" y="3210113"/>
                </a:cubicBezTo>
                <a:cubicBezTo>
                  <a:pt x="6581500" y="3217549"/>
                  <a:pt x="6569641" y="3221267"/>
                  <a:pt x="6557782" y="3232422"/>
                </a:cubicBezTo>
                <a:cubicBezTo>
                  <a:pt x="6537029" y="3236140"/>
                  <a:pt x="6511828" y="3217549"/>
                  <a:pt x="6504416" y="3269603"/>
                </a:cubicBezTo>
                <a:cubicBezTo>
                  <a:pt x="6504416" y="3269603"/>
                  <a:pt x="6516275" y="3277039"/>
                  <a:pt x="6522205" y="3284476"/>
                </a:cubicBezTo>
                <a:cubicBezTo>
                  <a:pt x="6537029" y="3303066"/>
                  <a:pt x="6551852" y="3340247"/>
                  <a:pt x="6557782" y="3381146"/>
                </a:cubicBezTo>
                <a:cubicBezTo>
                  <a:pt x="6498487" y="3392300"/>
                  <a:pt x="6519240" y="3369992"/>
                  <a:pt x="6534064" y="3425764"/>
                </a:cubicBezTo>
                <a:cubicBezTo>
                  <a:pt x="6545923" y="3444354"/>
                  <a:pt x="6556300" y="3477818"/>
                  <a:pt x="6563711" y="3507563"/>
                </a:cubicBezTo>
                <a:cubicBezTo>
                  <a:pt x="6577053" y="3529871"/>
                  <a:pt x="6585947" y="3544743"/>
                  <a:pt x="6596324" y="3507563"/>
                </a:cubicBezTo>
                <a:cubicBezTo>
                  <a:pt x="6628937" y="3500126"/>
                  <a:pt x="6651172" y="3470381"/>
                  <a:pt x="6682302" y="3462945"/>
                </a:cubicBezTo>
                <a:cubicBezTo>
                  <a:pt x="6707503" y="3485254"/>
                  <a:pt x="6731221" y="3514999"/>
                  <a:pt x="6753457" y="3552180"/>
                </a:cubicBezTo>
                <a:cubicBezTo>
                  <a:pt x="6759386" y="3563334"/>
                  <a:pt x="6768281" y="3567052"/>
                  <a:pt x="6771245" y="3581925"/>
                </a:cubicBezTo>
                <a:cubicBezTo>
                  <a:pt x="6775693" y="3607951"/>
                  <a:pt x="6772728" y="3637696"/>
                  <a:pt x="6774210" y="3663724"/>
                </a:cubicBezTo>
                <a:cubicBezTo>
                  <a:pt x="6774210" y="3663724"/>
                  <a:pt x="6777175" y="3693468"/>
                  <a:pt x="6780140" y="3708340"/>
                </a:cubicBezTo>
                <a:cubicBezTo>
                  <a:pt x="6787552" y="3745522"/>
                  <a:pt x="6794964" y="3782703"/>
                  <a:pt x="6803858" y="3819884"/>
                </a:cubicBezTo>
                <a:cubicBezTo>
                  <a:pt x="6824611" y="3916555"/>
                  <a:pt x="6818682" y="4050407"/>
                  <a:pt x="6812752" y="4154514"/>
                </a:cubicBezTo>
                <a:cubicBezTo>
                  <a:pt x="6812752" y="4154514"/>
                  <a:pt x="6818682" y="4202850"/>
                  <a:pt x="6824611" y="4221441"/>
                </a:cubicBezTo>
                <a:cubicBezTo>
                  <a:pt x="6839435" y="4277212"/>
                  <a:pt x="6839435" y="4280931"/>
                  <a:pt x="6842400" y="4347857"/>
                </a:cubicBezTo>
                <a:cubicBezTo>
                  <a:pt x="6848329" y="4392474"/>
                  <a:pt x="6860189" y="4414783"/>
                  <a:pt x="6875013" y="4407347"/>
                </a:cubicBezTo>
                <a:cubicBezTo>
                  <a:pt x="6891319" y="4437092"/>
                  <a:pt x="6906142" y="4433374"/>
                  <a:pt x="6916519" y="4474273"/>
                </a:cubicBezTo>
                <a:cubicBezTo>
                  <a:pt x="6926896" y="4492863"/>
                  <a:pt x="6932825" y="4522608"/>
                  <a:pt x="6937272" y="4556071"/>
                </a:cubicBezTo>
                <a:cubicBezTo>
                  <a:pt x="6918001" y="4522608"/>
                  <a:pt x="6909107" y="4530044"/>
                  <a:pt x="6880942" y="4526326"/>
                </a:cubicBezTo>
                <a:cubicBezTo>
                  <a:pt x="6852777" y="4548636"/>
                  <a:pt x="6863153" y="4649024"/>
                  <a:pt x="6872047" y="4712232"/>
                </a:cubicBezTo>
                <a:cubicBezTo>
                  <a:pt x="6897248" y="4775440"/>
                  <a:pt x="6892801" y="4794031"/>
                  <a:pt x="6889836" y="4898138"/>
                </a:cubicBezTo>
                <a:cubicBezTo>
                  <a:pt x="6875012" y="5005964"/>
                  <a:pt x="6882424" y="5117507"/>
                  <a:pt x="6880942" y="5232768"/>
                </a:cubicBezTo>
                <a:cubicBezTo>
                  <a:pt x="6880942" y="5232768"/>
                  <a:pt x="6889836" y="5277386"/>
                  <a:pt x="6892801" y="5299695"/>
                </a:cubicBezTo>
                <a:cubicBezTo>
                  <a:pt x="6900213" y="5351748"/>
                  <a:pt x="6920966" y="5370339"/>
                  <a:pt x="6922449" y="5426110"/>
                </a:cubicBezTo>
                <a:cubicBezTo>
                  <a:pt x="6928378" y="5474446"/>
                  <a:pt x="6925413" y="5526500"/>
                  <a:pt x="6931343" y="5574835"/>
                </a:cubicBezTo>
                <a:cubicBezTo>
                  <a:pt x="6946167" y="5600862"/>
                  <a:pt x="6947649" y="5641761"/>
                  <a:pt x="6955061" y="5678942"/>
                </a:cubicBezTo>
                <a:cubicBezTo>
                  <a:pt x="6962473" y="5719842"/>
                  <a:pt x="6969885" y="5775613"/>
                  <a:pt x="6978779" y="5812795"/>
                </a:cubicBezTo>
                <a:cubicBezTo>
                  <a:pt x="6981744" y="5827667"/>
                  <a:pt x="6989156" y="5835104"/>
                  <a:pt x="6993603" y="5849976"/>
                </a:cubicBezTo>
                <a:cubicBezTo>
                  <a:pt x="6993603" y="5849976"/>
                  <a:pt x="7005462" y="5872284"/>
                  <a:pt x="7011392" y="5879721"/>
                </a:cubicBezTo>
                <a:cubicBezTo>
                  <a:pt x="7027698" y="5902029"/>
                  <a:pt x="7042522" y="5920620"/>
                  <a:pt x="7055863" y="5954083"/>
                </a:cubicBezTo>
                <a:cubicBezTo>
                  <a:pt x="7075134" y="5968956"/>
                  <a:pt x="7095888" y="5972674"/>
                  <a:pt x="7115158" y="5976392"/>
                </a:cubicBezTo>
                <a:cubicBezTo>
                  <a:pt x="7132947" y="5913184"/>
                  <a:pt x="7137394" y="5820231"/>
                  <a:pt x="7138876" y="5745869"/>
                </a:cubicBezTo>
                <a:cubicBezTo>
                  <a:pt x="7138876" y="5745869"/>
                  <a:pt x="7141841" y="5716124"/>
                  <a:pt x="7144806" y="5701251"/>
                </a:cubicBezTo>
                <a:cubicBezTo>
                  <a:pt x="7147771" y="5686379"/>
                  <a:pt x="7140359" y="5671506"/>
                  <a:pt x="7144806" y="5656634"/>
                </a:cubicBezTo>
                <a:cubicBezTo>
                  <a:pt x="7178901" y="5600862"/>
                  <a:pt x="7186313" y="5452137"/>
                  <a:pt x="7189278" y="5366621"/>
                </a:cubicBezTo>
                <a:cubicBezTo>
                  <a:pt x="7189278" y="5366621"/>
                  <a:pt x="7211513" y="5351748"/>
                  <a:pt x="7221890" y="5344312"/>
                </a:cubicBezTo>
                <a:cubicBezTo>
                  <a:pt x="7242643" y="5325722"/>
                  <a:pt x="7255985" y="5292258"/>
                  <a:pt x="7275256" y="5269950"/>
                </a:cubicBezTo>
                <a:cubicBezTo>
                  <a:pt x="7288597" y="5251359"/>
                  <a:pt x="7303421" y="5210460"/>
                  <a:pt x="7310833" y="5180715"/>
                </a:cubicBezTo>
                <a:cubicBezTo>
                  <a:pt x="7321209" y="5139816"/>
                  <a:pt x="7349375" y="5002245"/>
                  <a:pt x="7352340" y="4957628"/>
                </a:cubicBezTo>
                <a:cubicBezTo>
                  <a:pt x="7365681" y="4924165"/>
                  <a:pt x="7356787" y="4939038"/>
                  <a:pt x="7379023" y="4920447"/>
                </a:cubicBezTo>
                <a:cubicBezTo>
                  <a:pt x="7387917" y="4920447"/>
                  <a:pt x="7481307" y="4913010"/>
                  <a:pt x="7488719" y="4853521"/>
                </a:cubicBezTo>
                <a:cubicBezTo>
                  <a:pt x="7493166" y="4823776"/>
                  <a:pt x="7513920" y="4816339"/>
                  <a:pt x="7518367" y="4786594"/>
                </a:cubicBezTo>
                <a:cubicBezTo>
                  <a:pt x="7534673" y="4760568"/>
                  <a:pt x="7540603" y="4723386"/>
                  <a:pt x="7553944" y="4689924"/>
                </a:cubicBezTo>
                <a:cubicBezTo>
                  <a:pt x="7562838" y="4667615"/>
                  <a:pt x="7559874" y="4649024"/>
                  <a:pt x="7571733" y="4630434"/>
                </a:cubicBezTo>
                <a:cubicBezTo>
                  <a:pt x="7499096" y="4593252"/>
                  <a:pt x="7507990" y="4686206"/>
                  <a:pt x="7503543" y="4444528"/>
                </a:cubicBezTo>
                <a:cubicBezTo>
                  <a:pt x="7518367" y="4455682"/>
                  <a:pt x="7525779" y="4474273"/>
                  <a:pt x="7530226" y="4511454"/>
                </a:cubicBezTo>
                <a:cubicBezTo>
                  <a:pt x="7539120" y="4526326"/>
                  <a:pt x="7548014" y="4548635"/>
                  <a:pt x="7556909" y="4563508"/>
                </a:cubicBezTo>
                <a:cubicBezTo>
                  <a:pt x="7591003" y="4574662"/>
                  <a:pt x="7588039" y="4574662"/>
                  <a:pt x="7592486" y="4496581"/>
                </a:cubicBezTo>
                <a:cubicBezTo>
                  <a:pt x="7592486" y="4496581"/>
                  <a:pt x="7589521" y="4466837"/>
                  <a:pt x="7586556" y="4451964"/>
                </a:cubicBezTo>
                <a:cubicBezTo>
                  <a:pt x="7574698" y="4407347"/>
                  <a:pt x="7574697" y="4359011"/>
                  <a:pt x="7568768" y="4310676"/>
                </a:cubicBezTo>
                <a:cubicBezTo>
                  <a:pt x="7589521" y="4329266"/>
                  <a:pt x="7582109" y="4351575"/>
                  <a:pt x="7586557" y="4288367"/>
                </a:cubicBezTo>
                <a:cubicBezTo>
                  <a:pt x="7586557" y="4288367"/>
                  <a:pt x="7588039" y="4254904"/>
                  <a:pt x="7589521" y="4221441"/>
                </a:cubicBezTo>
                <a:cubicBezTo>
                  <a:pt x="7583592" y="4180541"/>
                  <a:pt x="7599898" y="4184260"/>
                  <a:pt x="7586556" y="4132206"/>
                </a:cubicBezTo>
                <a:cubicBezTo>
                  <a:pt x="7574698" y="4113615"/>
                  <a:pt x="7546532" y="4039253"/>
                  <a:pt x="7542085" y="4005790"/>
                </a:cubicBezTo>
                <a:cubicBezTo>
                  <a:pt x="7568768" y="4002072"/>
                  <a:pt x="7617686" y="4054126"/>
                  <a:pt x="7628063" y="3976045"/>
                </a:cubicBezTo>
                <a:cubicBezTo>
                  <a:pt x="7602863" y="3964890"/>
                  <a:pt x="7591004" y="3946300"/>
                  <a:pt x="7598416" y="3886810"/>
                </a:cubicBezTo>
                <a:cubicBezTo>
                  <a:pt x="7628063" y="3875656"/>
                  <a:pt x="7623616" y="3897964"/>
                  <a:pt x="7636958" y="3834756"/>
                </a:cubicBezTo>
                <a:cubicBezTo>
                  <a:pt x="7654746" y="3752958"/>
                  <a:pt x="7638440" y="3864501"/>
                  <a:pt x="7648817" y="3790139"/>
                </a:cubicBezTo>
                <a:cubicBezTo>
                  <a:pt x="7604345" y="3771549"/>
                  <a:pt x="7599898" y="3708341"/>
                  <a:pt x="7586557" y="3604233"/>
                </a:cubicBezTo>
                <a:cubicBezTo>
                  <a:pt x="7592486" y="3563334"/>
                  <a:pt x="7591004" y="3626542"/>
                  <a:pt x="7604345" y="3678596"/>
                </a:cubicBezTo>
                <a:cubicBezTo>
                  <a:pt x="7647334" y="3749240"/>
                  <a:pt x="7636957" y="3667442"/>
                  <a:pt x="7639922" y="3559616"/>
                </a:cubicBezTo>
                <a:cubicBezTo>
                  <a:pt x="7639922" y="3559616"/>
                  <a:pt x="7635475" y="3529871"/>
                  <a:pt x="7633993" y="3514999"/>
                </a:cubicBezTo>
                <a:cubicBezTo>
                  <a:pt x="7628063" y="3470382"/>
                  <a:pt x="7633993" y="3500126"/>
                  <a:pt x="7625099" y="3462945"/>
                </a:cubicBezTo>
                <a:cubicBezTo>
                  <a:pt x="7607310" y="3448072"/>
                  <a:pt x="7591004" y="3414609"/>
                  <a:pt x="7580627" y="3373710"/>
                </a:cubicBezTo>
                <a:cubicBezTo>
                  <a:pt x="7567285" y="3351401"/>
                  <a:pt x="7582109" y="3343966"/>
                  <a:pt x="7586556" y="3306784"/>
                </a:cubicBezTo>
                <a:cubicBezTo>
                  <a:pt x="7645852" y="3299348"/>
                  <a:pt x="7654746" y="3343965"/>
                  <a:pt x="7660676" y="3224986"/>
                </a:cubicBezTo>
                <a:cubicBezTo>
                  <a:pt x="7610275" y="3198959"/>
                  <a:pt x="7574697" y="3135751"/>
                  <a:pt x="7595451" y="2979590"/>
                </a:cubicBezTo>
                <a:cubicBezTo>
                  <a:pt x="7616204" y="2960999"/>
                  <a:pt x="7593969" y="2849456"/>
                  <a:pt x="7604345" y="2808556"/>
                </a:cubicBezTo>
                <a:cubicBezTo>
                  <a:pt x="7616204" y="2789966"/>
                  <a:pt x="7631028" y="2842020"/>
                  <a:pt x="7642887" y="2823429"/>
                </a:cubicBezTo>
                <a:cubicBezTo>
                  <a:pt x="7633993" y="2786248"/>
                  <a:pt x="7642887" y="2689577"/>
                  <a:pt x="7639922" y="2644959"/>
                </a:cubicBezTo>
                <a:cubicBezTo>
                  <a:pt x="7642887" y="2581751"/>
                  <a:pt x="7629545" y="2563161"/>
                  <a:pt x="7636958" y="2503671"/>
                </a:cubicBezTo>
                <a:cubicBezTo>
                  <a:pt x="7638440" y="2496235"/>
                  <a:pt x="7642887" y="2514825"/>
                  <a:pt x="7645852" y="2518543"/>
                </a:cubicBezTo>
                <a:cubicBezTo>
                  <a:pt x="7654746" y="2522262"/>
                  <a:pt x="7663641" y="2522261"/>
                  <a:pt x="7672535" y="2525980"/>
                </a:cubicBezTo>
                <a:cubicBezTo>
                  <a:pt x="7679947" y="2514825"/>
                  <a:pt x="7693288" y="2459053"/>
                  <a:pt x="7687359" y="2444182"/>
                </a:cubicBezTo>
                <a:cubicBezTo>
                  <a:pt x="7681429" y="2429308"/>
                  <a:pt x="7639922" y="2447899"/>
                  <a:pt x="7633993" y="2429309"/>
                </a:cubicBezTo>
                <a:cubicBezTo>
                  <a:pt x="7620651" y="2407000"/>
                  <a:pt x="7625098" y="2395846"/>
                  <a:pt x="7636957" y="2377255"/>
                </a:cubicBezTo>
                <a:cubicBezTo>
                  <a:pt x="7659194" y="2373537"/>
                  <a:pt x="7694770" y="2414436"/>
                  <a:pt x="7702183" y="2362382"/>
                </a:cubicBezTo>
                <a:cubicBezTo>
                  <a:pt x="7704406" y="2345651"/>
                  <a:pt x="7709965" y="2287090"/>
                  <a:pt x="7711355" y="2258856"/>
                </a:cubicBezTo>
                <a:lnTo>
                  <a:pt x="7711384" y="2257790"/>
                </a:lnTo>
                <a:lnTo>
                  <a:pt x="7723796" y="2253969"/>
                </a:lnTo>
                <a:cubicBezTo>
                  <a:pt x="7737876" y="2244100"/>
                  <a:pt x="7747395" y="2216911"/>
                  <a:pt x="7749619" y="2154168"/>
                </a:cubicBezTo>
                <a:cubicBezTo>
                  <a:pt x="7780749" y="2143014"/>
                  <a:pt x="7761478" y="2102114"/>
                  <a:pt x="7773337" y="2035188"/>
                </a:cubicBezTo>
                <a:cubicBezTo>
                  <a:pt x="7779266" y="1998007"/>
                  <a:pt x="7794090" y="1979416"/>
                  <a:pt x="7805950" y="1960826"/>
                </a:cubicBezTo>
                <a:cubicBezTo>
                  <a:pt x="7795573" y="1923645"/>
                  <a:pt x="7800020" y="1882746"/>
                  <a:pt x="7794090" y="1841846"/>
                </a:cubicBezTo>
                <a:cubicBezTo>
                  <a:pt x="7794090" y="1841846"/>
                  <a:pt x="7782231" y="1834410"/>
                  <a:pt x="7776302" y="1826973"/>
                </a:cubicBezTo>
                <a:cubicBezTo>
                  <a:pt x="7749619" y="1782356"/>
                  <a:pt x="7765925" y="1797229"/>
                  <a:pt x="7728865" y="1789792"/>
                </a:cubicBezTo>
                <a:cubicBezTo>
                  <a:pt x="7711077" y="1804665"/>
                  <a:pt x="7705147" y="1841846"/>
                  <a:pt x="7687359" y="1856719"/>
                </a:cubicBezTo>
                <a:cubicBezTo>
                  <a:pt x="7683653" y="1853000"/>
                  <a:pt x="7675870" y="1845565"/>
                  <a:pt x="7668459" y="1838128"/>
                </a:cubicBezTo>
                <a:lnTo>
                  <a:pt x="7664016" y="1833510"/>
                </a:lnTo>
                <a:lnTo>
                  <a:pt x="7660676" y="1812101"/>
                </a:lnTo>
                <a:cubicBezTo>
                  <a:pt x="7656229" y="1793511"/>
                  <a:pt x="7649929" y="1777709"/>
                  <a:pt x="7645296" y="1761442"/>
                </a:cubicBezTo>
                <a:lnTo>
                  <a:pt x="7644997" y="1760012"/>
                </a:lnTo>
                <a:lnTo>
                  <a:pt x="7644069" y="1735357"/>
                </a:lnTo>
                <a:cubicBezTo>
                  <a:pt x="7643350" y="1724958"/>
                  <a:pt x="7642146" y="1715431"/>
                  <a:pt x="7639922" y="1707994"/>
                </a:cubicBezTo>
                <a:cubicBezTo>
                  <a:pt x="7638810" y="1718219"/>
                  <a:pt x="7638996" y="1727514"/>
                  <a:pt x="7640038" y="1736287"/>
                </a:cubicBezTo>
                <a:lnTo>
                  <a:pt x="7644997" y="1760012"/>
                </a:lnTo>
                <a:lnTo>
                  <a:pt x="7645297" y="1767949"/>
                </a:lnTo>
                <a:cubicBezTo>
                  <a:pt x="7645852" y="1789792"/>
                  <a:pt x="7646593" y="1810242"/>
                  <a:pt x="7651781" y="1819537"/>
                </a:cubicBezTo>
                <a:cubicBezTo>
                  <a:pt x="7652893" y="1821396"/>
                  <a:pt x="7655209" y="1824185"/>
                  <a:pt x="7658174" y="1827438"/>
                </a:cubicBezTo>
                <a:lnTo>
                  <a:pt x="7664016" y="1833510"/>
                </a:lnTo>
                <a:lnTo>
                  <a:pt x="7665679" y="1844169"/>
                </a:lnTo>
                <a:cubicBezTo>
                  <a:pt x="7665494" y="1855789"/>
                  <a:pt x="7665123" y="1867872"/>
                  <a:pt x="7669570" y="1879027"/>
                </a:cubicBezTo>
                <a:cubicBezTo>
                  <a:pt x="7672535" y="1882745"/>
                  <a:pt x="7676982" y="1882745"/>
                  <a:pt x="7678464" y="1886463"/>
                </a:cubicBezTo>
                <a:cubicBezTo>
                  <a:pt x="7679947" y="1890181"/>
                  <a:pt x="7678465" y="1905054"/>
                  <a:pt x="7681429" y="1908772"/>
                </a:cubicBezTo>
                <a:cubicBezTo>
                  <a:pt x="7684394" y="1916208"/>
                  <a:pt x="7690323" y="1938517"/>
                  <a:pt x="7687358" y="1945953"/>
                </a:cubicBezTo>
                <a:cubicBezTo>
                  <a:pt x="7682911" y="1957108"/>
                  <a:pt x="7681429" y="1919926"/>
                  <a:pt x="7675500" y="1923645"/>
                </a:cubicBezTo>
                <a:cubicBezTo>
                  <a:pt x="7656229" y="1893900"/>
                  <a:pt x="7666605" y="1986852"/>
                  <a:pt x="7651781" y="1931081"/>
                </a:cubicBezTo>
                <a:cubicBezTo>
                  <a:pt x="7651781" y="1931081"/>
                  <a:pt x="7633993" y="1867873"/>
                  <a:pt x="7628063" y="1871591"/>
                </a:cubicBezTo>
                <a:cubicBezTo>
                  <a:pt x="7622134" y="1875309"/>
                  <a:pt x="7625098" y="1901336"/>
                  <a:pt x="7622134" y="1916209"/>
                </a:cubicBezTo>
                <a:cubicBezTo>
                  <a:pt x="7616204" y="1953390"/>
                  <a:pt x="7610275" y="1986852"/>
                  <a:pt x="7604345" y="2027752"/>
                </a:cubicBezTo>
                <a:cubicBezTo>
                  <a:pt x="7604345" y="2027752"/>
                  <a:pt x="7591004" y="2042625"/>
                  <a:pt x="7586557" y="2057497"/>
                </a:cubicBezTo>
                <a:cubicBezTo>
                  <a:pt x="7574697" y="2102114"/>
                  <a:pt x="7570250" y="2139296"/>
                  <a:pt x="7562838" y="2191349"/>
                </a:cubicBezTo>
                <a:cubicBezTo>
                  <a:pt x="7567286" y="2224812"/>
                  <a:pt x="7561356" y="2232248"/>
                  <a:pt x="7550979" y="2258275"/>
                </a:cubicBezTo>
                <a:cubicBezTo>
                  <a:pt x="7531709" y="2269429"/>
                  <a:pt x="7534673" y="2243403"/>
                  <a:pt x="7539121" y="2206221"/>
                </a:cubicBezTo>
                <a:cubicBezTo>
                  <a:pt x="7558391" y="2172758"/>
                  <a:pt x="7548015" y="2120705"/>
                  <a:pt x="7559873" y="2072370"/>
                </a:cubicBezTo>
                <a:cubicBezTo>
                  <a:pt x="7559873" y="2072370"/>
                  <a:pt x="7591004" y="2035188"/>
                  <a:pt x="7592486" y="1998007"/>
                </a:cubicBezTo>
                <a:cubicBezTo>
                  <a:pt x="7595451" y="1945954"/>
                  <a:pt x="7620651" y="1756329"/>
                  <a:pt x="7580627" y="1722866"/>
                </a:cubicBezTo>
                <a:cubicBezTo>
                  <a:pt x="7580627" y="1722866"/>
                  <a:pt x="7567285" y="1737739"/>
                  <a:pt x="7562838" y="1752611"/>
                </a:cubicBezTo>
                <a:cubicBezTo>
                  <a:pt x="7552462" y="1778638"/>
                  <a:pt x="7553944" y="1834410"/>
                  <a:pt x="7539120" y="1871591"/>
                </a:cubicBezTo>
                <a:cubicBezTo>
                  <a:pt x="7528744" y="1875309"/>
                  <a:pt x="7518367" y="1864155"/>
                  <a:pt x="7509473" y="1879027"/>
                </a:cubicBezTo>
                <a:cubicBezTo>
                  <a:pt x="7505025" y="1886463"/>
                  <a:pt x="7482790" y="1923645"/>
                  <a:pt x="7482790" y="1923645"/>
                </a:cubicBezTo>
                <a:cubicBezTo>
                  <a:pt x="7475378" y="1923644"/>
                  <a:pt x="7481307" y="1886463"/>
                  <a:pt x="7485754" y="1871591"/>
                </a:cubicBezTo>
                <a:cubicBezTo>
                  <a:pt x="7507990" y="1834410"/>
                  <a:pt x="7528743" y="1849282"/>
                  <a:pt x="7515402" y="1745175"/>
                </a:cubicBezTo>
                <a:cubicBezTo>
                  <a:pt x="7487237" y="1741457"/>
                  <a:pt x="7476860" y="1707993"/>
                  <a:pt x="7450177" y="1730302"/>
                </a:cubicBezTo>
                <a:cubicBezTo>
                  <a:pt x="7414600" y="1737739"/>
                  <a:pt x="7386435" y="1771201"/>
                  <a:pt x="7361234" y="1834410"/>
                </a:cubicBezTo>
                <a:cubicBezTo>
                  <a:pt x="7349375" y="1845564"/>
                  <a:pt x="7344928" y="1871592"/>
                  <a:pt x="7340481" y="1834410"/>
                </a:cubicBezTo>
                <a:cubicBezTo>
                  <a:pt x="7364199" y="1819538"/>
                  <a:pt x="7352340" y="1767483"/>
                  <a:pt x="7364199" y="1722866"/>
                </a:cubicBezTo>
                <a:cubicBezTo>
                  <a:pt x="7364199" y="1722866"/>
                  <a:pt x="7381988" y="1711712"/>
                  <a:pt x="7390882" y="1700557"/>
                </a:cubicBezTo>
                <a:cubicBezTo>
                  <a:pt x="7393847" y="1696839"/>
                  <a:pt x="7396811" y="1689403"/>
                  <a:pt x="7399776" y="1685685"/>
                </a:cubicBezTo>
                <a:cubicBezTo>
                  <a:pt x="7405706" y="1678249"/>
                  <a:pt x="7411635" y="1674531"/>
                  <a:pt x="7417565" y="1670812"/>
                </a:cubicBezTo>
                <a:cubicBezTo>
                  <a:pt x="7473896" y="1663376"/>
                  <a:pt x="7467966" y="1663376"/>
                  <a:pt x="7506508" y="1678249"/>
                </a:cubicBezTo>
                <a:cubicBezTo>
                  <a:pt x="7506508" y="1678249"/>
                  <a:pt x="7516885" y="1655940"/>
                  <a:pt x="7524296" y="1648504"/>
                </a:cubicBezTo>
                <a:cubicBezTo>
                  <a:pt x="7530226" y="1644786"/>
                  <a:pt x="7536155" y="1637350"/>
                  <a:pt x="7542085" y="1633632"/>
                </a:cubicBezTo>
                <a:cubicBezTo>
                  <a:pt x="7589521" y="1618759"/>
                  <a:pt x="7550980" y="1629913"/>
                  <a:pt x="7571733" y="1566705"/>
                </a:cubicBezTo>
                <a:cubicBezTo>
                  <a:pt x="7574697" y="1559269"/>
                  <a:pt x="7582109" y="1570424"/>
                  <a:pt x="7583592" y="1559269"/>
                </a:cubicBezTo>
                <a:cubicBezTo>
                  <a:pt x="7588039" y="1522088"/>
                  <a:pt x="7585074" y="1484907"/>
                  <a:pt x="7586556" y="1447726"/>
                </a:cubicBezTo>
                <a:cubicBezTo>
                  <a:pt x="7576180" y="1432853"/>
                  <a:pt x="7568768" y="1414263"/>
                  <a:pt x="7556909" y="1403109"/>
                </a:cubicBezTo>
                <a:cubicBezTo>
                  <a:pt x="7534673" y="1440290"/>
                  <a:pt x="7561356" y="1406826"/>
                  <a:pt x="7545050" y="1380799"/>
                </a:cubicBezTo>
                <a:cubicBezTo>
                  <a:pt x="7539121" y="1369645"/>
                  <a:pt x="7528744" y="1377081"/>
                  <a:pt x="7521332" y="1373364"/>
                </a:cubicBezTo>
                <a:cubicBezTo>
                  <a:pt x="7515403" y="1377081"/>
                  <a:pt x="7506508" y="1410545"/>
                  <a:pt x="7503543" y="1395672"/>
                </a:cubicBezTo>
                <a:cubicBezTo>
                  <a:pt x="7500578" y="1384518"/>
                  <a:pt x="7506508" y="1369645"/>
                  <a:pt x="7506508" y="1358491"/>
                </a:cubicBezTo>
                <a:cubicBezTo>
                  <a:pt x="7507990" y="1332464"/>
                  <a:pt x="7507990" y="1302719"/>
                  <a:pt x="7509472" y="1276692"/>
                </a:cubicBezTo>
                <a:cubicBezTo>
                  <a:pt x="7481307" y="1269256"/>
                  <a:pt x="7479825" y="1272974"/>
                  <a:pt x="7456107" y="1284128"/>
                </a:cubicBezTo>
                <a:cubicBezTo>
                  <a:pt x="7456107" y="1284128"/>
                  <a:pt x="7387917" y="1272975"/>
                  <a:pt x="7379023" y="1336182"/>
                </a:cubicBezTo>
                <a:cubicBezTo>
                  <a:pt x="7319728" y="1351054"/>
                  <a:pt x="7341963" y="1336182"/>
                  <a:pt x="7325657" y="1462598"/>
                </a:cubicBezTo>
                <a:cubicBezTo>
                  <a:pt x="7301197" y="1420769"/>
                  <a:pt x="7323434" y="1385214"/>
                  <a:pt x="7314817" y="1362209"/>
                </a:cubicBezTo>
                <a:lnTo>
                  <a:pt x="7294049" y="1344476"/>
                </a:lnTo>
                <a:lnTo>
                  <a:pt x="7298974" y="1328746"/>
                </a:lnTo>
                <a:cubicBezTo>
                  <a:pt x="7325657" y="1306438"/>
                  <a:pt x="7347893" y="1261820"/>
                  <a:pt x="7376058" y="1246947"/>
                </a:cubicBezTo>
                <a:cubicBezTo>
                  <a:pt x="7393847" y="1243229"/>
                  <a:pt x="7429424" y="1250666"/>
                  <a:pt x="7453142" y="1232074"/>
                </a:cubicBezTo>
                <a:cubicBezTo>
                  <a:pt x="7462036" y="1224639"/>
                  <a:pt x="7497614" y="1202330"/>
                  <a:pt x="7491684" y="1165148"/>
                </a:cubicBezTo>
                <a:cubicBezTo>
                  <a:pt x="7488719" y="1150276"/>
                  <a:pt x="7481307" y="1142840"/>
                  <a:pt x="7476860" y="1127967"/>
                </a:cubicBezTo>
                <a:cubicBezTo>
                  <a:pt x="7451660" y="1087068"/>
                  <a:pt x="7419047" y="1075914"/>
                  <a:pt x="7393847" y="1031296"/>
                </a:cubicBezTo>
                <a:cubicBezTo>
                  <a:pt x="7380505" y="1023861"/>
                  <a:pt x="7371611" y="1012706"/>
                  <a:pt x="7358269" y="1023860"/>
                </a:cubicBezTo>
                <a:cubicBezTo>
                  <a:pt x="7328622" y="1031297"/>
                  <a:pt x="7288597" y="1027578"/>
                  <a:pt x="7263397" y="1068478"/>
                </a:cubicBezTo>
                <a:cubicBezTo>
                  <a:pt x="7242644" y="1079632"/>
                  <a:pt x="7221890" y="1105659"/>
                  <a:pt x="7204101" y="1135404"/>
                </a:cubicBezTo>
                <a:cubicBezTo>
                  <a:pt x="7189278" y="1142840"/>
                  <a:pt x="7181865" y="1153995"/>
                  <a:pt x="7168525" y="1165149"/>
                </a:cubicBezTo>
                <a:cubicBezTo>
                  <a:pt x="7159630" y="1168867"/>
                  <a:pt x="7150735" y="1165149"/>
                  <a:pt x="7141842" y="1172585"/>
                </a:cubicBezTo>
                <a:cubicBezTo>
                  <a:pt x="7138876" y="1176303"/>
                  <a:pt x="7141841" y="1191176"/>
                  <a:pt x="7138877" y="1194894"/>
                </a:cubicBezTo>
                <a:cubicBezTo>
                  <a:pt x="7127018" y="1206048"/>
                  <a:pt x="7112194" y="1198612"/>
                  <a:pt x="7100335" y="1209766"/>
                </a:cubicBezTo>
                <a:cubicBezTo>
                  <a:pt x="7100335" y="1209766"/>
                  <a:pt x="7107747" y="1239511"/>
                  <a:pt x="7106264" y="1254383"/>
                </a:cubicBezTo>
                <a:cubicBezTo>
                  <a:pt x="7106264" y="1261820"/>
                  <a:pt x="7100334" y="1250666"/>
                  <a:pt x="7097370" y="1246947"/>
                </a:cubicBezTo>
                <a:cubicBezTo>
                  <a:pt x="7075134" y="1243230"/>
                  <a:pt x="7051416" y="1224639"/>
                  <a:pt x="7067722" y="1284128"/>
                </a:cubicBezTo>
                <a:cubicBezTo>
                  <a:pt x="7078099" y="1302719"/>
                  <a:pt x="7089958" y="1332464"/>
                  <a:pt x="7097370" y="1358491"/>
                </a:cubicBezTo>
                <a:cubicBezTo>
                  <a:pt x="7119606" y="1362209"/>
                  <a:pt x="7127018" y="1354773"/>
                  <a:pt x="7141842" y="1380800"/>
                </a:cubicBezTo>
                <a:cubicBezTo>
                  <a:pt x="7142953" y="1382659"/>
                  <a:pt x="7145362" y="1388236"/>
                  <a:pt x="7148489" y="1395324"/>
                </a:cubicBezTo>
                <a:lnTo>
                  <a:pt x="7149305" y="1397081"/>
                </a:lnTo>
                <a:lnTo>
                  <a:pt x="7148698" y="1396601"/>
                </a:lnTo>
                <a:cubicBezTo>
                  <a:pt x="7145918" y="1394743"/>
                  <a:pt x="7143324" y="1393813"/>
                  <a:pt x="7132947" y="1388235"/>
                </a:cubicBezTo>
                <a:cubicBezTo>
                  <a:pt x="7127017" y="1384518"/>
                  <a:pt x="7137394" y="1417981"/>
                  <a:pt x="7138877" y="1432853"/>
                </a:cubicBezTo>
                <a:lnTo>
                  <a:pt x="7144766" y="1451195"/>
                </a:lnTo>
                <a:lnTo>
                  <a:pt x="7129982" y="1432854"/>
                </a:lnTo>
                <a:cubicBezTo>
                  <a:pt x="7103299" y="1425417"/>
                  <a:pt x="7086993" y="1410545"/>
                  <a:pt x="7061793" y="1432853"/>
                </a:cubicBezTo>
                <a:cubicBezTo>
                  <a:pt x="7061793" y="1432853"/>
                  <a:pt x="7066240" y="1462598"/>
                  <a:pt x="7067722" y="1477471"/>
                </a:cubicBezTo>
                <a:cubicBezTo>
                  <a:pt x="7070687" y="1503497"/>
                  <a:pt x="7079581" y="1518370"/>
                  <a:pt x="7082546" y="1544397"/>
                </a:cubicBezTo>
                <a:cubicBezTo>
                  <a:pt x="7097370" y="1566706"/>
                  <a:pt x="7098852" y="1596450"/>
                  <a:pt x="7106264" y="1633631"/>
                </a:cubicBezTo>
                <a:cubicBezTo>
                  <a:pt x="7084029" y="1615041"/>
                  <a:pt x="7078099" y="1510933"/>
                  <a:pt x="7064758" y="1470034"/>
                </a:cubicBezTo>
                <a:cubicBezTo>
                  <a:pt x="7057346" y="1447725"/>
                  <a:pt x="7044004" y="1451444"/>
                  <a:pt x="7035110" y="1447725"/>
                </a:cubicBezTo>
                <a:cubicBezTo>
                  <a:pt x="7012874" y="1484907"/>
                  <a:pt x="7015839" y="1510934"/>
                  <a:pt x="7029180" y="1559269"/>
                </a:cubicBezTo>
                <a:cubicBezTo>
                  <a:pt x="7045486" y="1585296"/>
                  <a:pt x="7057345" y="1629914"/>
                  <a:pt x="7067722" y="1670813"/>
                </a:cubicBezTo>
                <a:cubicBezTo>
                  <a:pt x="7088475" y="1704276"/>
                  <a:pt x="7086993" y="1756329"/>
                  <a:pt x="7091440" y="1812101"/>
                </a:cubicBezTo>
                <a:cubicBezTo>
                  <a:pt x="7070687" y="1793510"/>
                  <a:pt x="7061793" y="1745175"/>
                  <a:pt x="7049934" y="1700557"/>
                </a:cubicBezTo>
                <a:cubicBezTo>
                  <a:pt x="7036592" y="1689404"/>
                  <a:pt x="7024733" y="1663376"/>
                  <a:pt x="7017322" y="1633631"/>
                </a:cubicBezTo>
                <a:cubicBezTo>
                  <a:pt x="7006945" y="1615041"/>
                  <a:pt x="7003979" y="1603887"/>
                  <a:pt x="6999533" y="1574141"/>
                </a:cubicBezTo>
                <a:cubicBezTo>
                  <a:pt x="6992121" y="1562987"/>
                  <a:pt x="6953579" y="1529524"/>
                  <a:pt x="6952096" y="1536960"/>
                </a:cubicBezTo>
                <a:cubicBezTo>
                  <a:pt x="6947650" y="1551833"/>
                  <a:pt x="6950614" y="1570424"/>
                  <a:pt x="6949132" y="1589014"/>
                </a:cubicBezTo>
                <a:cubicBezTo>
                  <a:pt x="6952096" y="1629914"/>
                  <a:pt x="6958025" y="1648504"/>
                  <a:pt x="6960991" y="1685685"/>
                </a:cubicBezTo>
                <a:cubicBezTo>
                  <a:pt x="6971367" y="1722866"/>
                  <a:pt x="6990638" y="1763766"/>
                  <a:pt x="6969885" y="1774920"/>
                </a:cubicBezTo>
                <a:cubicBezTo>
                  <a:pt x="6941720" y="1756329"/>
                  <a:pt x="6922449" y="1707994"/>
                  <a:pt x="6913554" y="1641068"/>
                </a:cubicBezTo>
                <a:cubicBezTo>
                  <a:pt x="6889836" y="1622477"/>
                  <a:pt x="6897248" y="1715430"/>
                  <a:pt x="6898730" y="1745175"/>
                </a:cubicBezTo>
                <a:cubicBezTo>
                  <a:pt x="6894283" y="1797229"/>
                  <a:pt x="6898730" y="1867873"/>
                  <a:pt x="6892801" y="1916209"/>
                </a:cubicBezTo>
                <a:cubicBezTo>
                  <a:pt x="6849812" y="1879028"/>
                  <a:pt x="6898731" y="1715430"/>
                  <a:pt x="6875012" y="1626195"/>
                </a:cubicBezTo>
                <a:cubicBezTo>
                  <a:pt x="6848329" y="1615041"/>
                  <a:pt x="6861671" y="1633632"/>
                  <a:pt x="6842400" y="1648504"/>
                </a:cubicBezTo>
                <a:cubicBezTo>
                  <a:pt x="6823129" y="1655940"/>
                  <a:pt x="6817199" y="1652222"/>
                  <a:pt x="6806822" y="1693121"/>
                </a:cubicBezTo>
                <a:cubicBezTo>
                  <a:pt x="6792740" y="1696839"/>
                  <a:pt x="6779028" y="1695910"/>
                  <a:pt x="6771246" y="1702882"/>
                </a:cubicBezTo>
                <a:close/>
                <a:moveTo>
                  <a:pt x="6429600" y="2385285"/>
                </a:moveTo>
                <a:lnTo>
                  <a:pt x="6440541" y="2374984"/>
                </a:lnTo>
                <a:cubicBezTo>
                  <a:pt x="6444123" y="2373052"/>
                  <a:pt x="6447379" y="2373546"/>
                  <a:pt x="6449984" y="2378808"/>
                </a:cubicBezTo>
                <a:lnTo>
                  <a:pt x="6450166" y="2389000"/>
                </a:lnTo>
                <a:lnTo>
                  <a:pt x="6448030" y="2389662"/>
                </a:lnTo>
                <a:close/>
                <a:moveTo>
                  <a:pt x="6391631" y="2378808"/>
                </a:moveTo>
                <a:cubicBezTo>
                  <a:pt x="6401791" y="2377492"/>
                  <a:pt x="6411950" y="2380288"/>
                  <a:pt x="6421540" y="2383371"/>
                </a:cubicBezTo>
                <a:lnTo>
                  <a:pt x="6429600" y="2385285"/>
                </a:lnTo>
                <a:lnTo>
                  <a:pt x="6429143" y="2385715"/>
                </a:lnTo>
                <a:cubicBezTo>
                  <a:pt x="6421328" y="2394596"/>
                  <a:pt x="6413513" y="2403805"/>
                  <a:pt x="6408303" y="2394596"/>
                </a:cubicBezTo>
                <a:cubicBezTo>
                  <a:pt x="6394757" y="2389333"/>
                  <a:pt x="6390589" y="2381439"/>
                  <a:pt x="6383295" y="2410383"/>
                </a:cubicBezTo>
                <a:cubicBezTo>
                  <a:pt x="6366622" y="2439326"/>
                  <a:pt x="6389547" y="2384070"/>
                  <a:pt x="6391631" y="2378808"/>
                </a:cubicBezTo>
                <a:close/>
                <a:moveTo>
                  <a:pt x="5612320" y="3190293"/>
                </a:moveTo>
                <a:cubicBezTo>
                  <a:pt x="5610427" y="3186870"/>
                  <a:pt x="5611135" y="3187055"/>
                  <a:pt x="5617631" y="3186685"/>
                </a:cubicBezTo>
                <a:lnTo>
                  <a:pt x="5623735" y="3185921"/>
                </a:lnTo>
                <a:lnTo>
                  <a:pt x="5633691" y="3240338"/>
                </a:lnTo>
                <a:lnTo>
                  <a:pt x="5633701" y="3240399"/>
                </a:lnTo>
                <a:lnTo>
                  <a:pt x="5622614" y="3215547"/>
                </a:lnTo>
                <a:cubicBezTo>
                  <a:pt x="5618706" y="3200746"/>
                  <a:pt x="5614212" y="3193716"/>
                  <a:pt x="5612320" y="3190293"/>
                </a:cubicBezTo>
                <a:close/>
                <a:moveTo>
                  <a:pt x="5615395" y="3117689"/>
                </a:moveTo>
                <a:lnTo>
                  <a:pt x="5629126" y="3143845"/>
                </a:lnTo>
                <a:cubicBezTo>
                  <a:pt x="5633555" y="3155686"/>
                  <a:pt x="5637202" y="3169500"/>
                  <a:pt x="5639286" y="3183972"/>
                </a:cubicBezTo>
                <a:lnTo>
                  <a:pt x="5623735" y="3185921"/>
                </a:lnTo>
                <a:lnTo>
                  <a:pt x="5622651" y="3179996"/>
                </a:lnTo>
                <a:close/>
                <a:moveTo>
                  <a:pt x="5607781" y="3085753"/>
                </a:moveTo>
                <a:cubicBezTo>
                  <a:pt x="5610402" y="3081764"/>
                  <a:pt x="5613561" y="3079873"/>
                  <a:pt x="5617013" y="3079050"/>
                </a:cubicBezTo>
                <a:lnTo>
                  <a:pt x="5630254" y="3078855"/>
                </a:lnTo>
                <a:lnTo>
                  <a:pt x="5630254" y="3078880"/>
                </a:lnTo>
                <a:cubicBezTo>
                  <a:pt x="5630069" y="3089872"/>
                  <a:pt x="5629945" y="3097200"/>
                  <a:pt x="5629945" y="3097200"/>
                </a:cubicBezTo>
                <a:cubicBezTo>
                  <a:pt x="5627610" y="3152602"/>
                  <a:pt x="5633403" y="3132918"/>
                  <a:pt x="5615328" y="3117115"/>
                </a:cubicBezTo>
                <a:lnTo>
                  <a:pt x="5615395" y="3117689"/>
                </a:lnTo>
                <a:lnTo>
                  <a:pt x="5614277" y="3115560"/>
                </a:lnTo>
                <a:cubicBezTo>
                  <a:pt x="5610109" y="3110297"/>
                  <a:pt x="5601773" y="3105034"/>
                  <a:pt x="5601773" y="3105034"/>
                </a:cubicBezTo>
                <a:cubicBezTo>
                  <a:pt x="5603075" y="3095825"/>
                  <a:pt x="5605160" y="3089740"/>
                  <a:pt x="5607781" y="3085753"/>
                </a:cubicBezTo>
                <a:close/>
                <a:moveTo>
                  <a:pt x="5629489" y="3018095"/>
                </a:moveTo>
                <a:lnTo>
                  <a:pt x="5629729" y="3017668"/>
                </a:lnTo>
                <a:cubicBezTo>
                  <a:pt x="5631275" y="3014914"/>
                  <a:pt x="5633555" y="3010967"/>
                  <a:pt x="5637202" y="3005047"/>
                </a:cubicBezTo>
                <a:cubicBezTo>
                  <a:pt x="5654916" y="3012940"/>
                  <a:pt x="5645538" y="3012941"/>
                  <a:pt x="5666379" y="2999784"/>
                </a:cubicBezTo>
                <a:cubicBezTo>
                  <a:pt x="5666379" y="2999784"/>
                  <a:pt x="5670547" y="3020834"/>
                  <a:pt x="5670547" y="3031359"/>
                </a:cubicBezTo>
                <a:cubicBezTo>
                  <a:pt x="5670547" y="3041884"/>
                  <a:pt x="5666379" y="3057671"/>
                  <a:pt x="5664295" y="3062934"/>
                </a:cubicBezTo>
                <a:cubicBezTo>
                  <a:pt x="5655959" y="3068196"/>
                  <a:pt x="5647622" y="3070828"/>
                  <a:pt x="5639286" y="3078722"/>
                </a:cubicBezTo>
                <a:lnTo>
                  <a:pt x="5630254" y="3078855"/>
                </a:lnTo>
                <a:lnTo>
                  <a:pt x="5630934" y="3038577"/>
                </a:lnTo>
                <a:close/>
                <a:moveTo>
                  <a:pt x="5630836" y="2745596"/>
                </a:moveTo>
                <a:lnTo>
                  <a:pt x="5631725" y="2745354"/>
                </a:lnTo>
                <a:lnTo>
                  <a:pt x="5630780" y="2747699"/>
                </a:lnTo>
                <a:close/>
                <a:moveTo>
                  <a:pt x="5636193" y="2734274"/>
                </a:moveTo>
                <a:cubicBezTo>
                  <a:pt x="5638765" y="2730409"/>
                  <a:pt x="5641500" y="2728436"/>
                  <a:pt x="5644496" y="2727449"/>
                </a:cubicBezTo>
                <a:lnTo>
                  <a:pt x="5657153" y="2726688"/>
                </a:lnTo>
                <a:lnTo>
                  <a:pt x="5656818" y="2728437"/>
                </a:lnTo>
                <a:cubicBezTo>
                  <a:pt x="5653868" y="2740721"/>
                  <a:pt x="5651623" y="2740780"/>
                  <a:pt x="5644907" y="2741770"/>
                </a:cubicBezTo>
                <a:lnTo>
                  <a:pt x="5631725" y="2745354"/>
                </a:lnTo>
                <a:close/>
                <a:moveTo>
                  <a:pt x="5581974" y="2823490"/>
                </a:moveTo>
                <a:cubicBezTo>
                  <a:pt x="5589008" y="2812965"/>
                  <a:pt x="5600210" y="2812965"/>
                  <a:pt x="5614277" y="2810333"/>
                </a:cubicBezTo>
                <a:cubicBezTo>
                  <a:pt x="5624697" y="2791915"/>
                  <a:pt x="5618445" y="2770865"/>
                  <a:pt x="5628866" y="2752446"/>
                </a:cubicBezTo>
                <a:lnTo>
                  <a:pt x="5630780" y="2747699"/>
                </a:lnTo>
                <a:lnTo>
                  <a:pt x="5629960" y="2778428"/>
                </a:lnTo>
                <a:cubicBezTo>
                  <a:pt x="5631849" y="2805387"/>
                  <a:pt x="5641827" y="2816113"/>
                  <a:pt x="5658091" y="2823012"/>
                </a:cubicBezTo>
                <a:cubicBezTo>
                  <a:pt x="5651055" y="2891559"/>
                  <a:pt x="5608263" y="2847103"/>
                  <a:pt x="5585657" y="2850951"/>
                </a:cubicBezTo>
                <a:cubicBezTo>
                  <a:pt x="5590205" y="2880130"/>
                  <a:pt x="5615859" y="2944566"/>
                  <a:pt x="5626369" y="2960568"/>
                </a:cubicBezTo>
                <a:cubicBezTo>
                  <a:pt x="5635772" y="2994504"/>
                  <a:pt x="5630275" y="3001361"/>
                  <a:pt x="5629461" y="3017710"/>
                </a:cubicBezTo>
                <a:lnTo>
                  <a:pt x="5629489" y="3018095"/>
                </a:lnTo>
                <a:lnTo>
                  <a:pt x="5626651" y="3023136"/>
                </a:lnTo>
                <a:cubicBezTo>
                  <a:pt x="5625219" y="3025439"/>
                  <a:pt x="5624177" y="3026096"/>
                  <a:pt x="5618446" y="3031359"/>
                </a:cubicBezTo>
                <a:cubicBezTo>
                  <a:pt x="5611151" y="3028728"/>
                  <a:pt x="5600731" y="3039253"/>
                  <a:pt x="5595521" y="3026097"/>
                </a:cubicBezTo>
                <a:cubicBezTo>
                  <a:pt x="5589268" y="3010310"/>
                  <a:pt x="5620529" y="3010309"/>
                  <a:pt x="5620529" y="3010309"/>
                </a:cubicBezTo>
                <a:cubicBezTo>
                  <a:pt x="5618446" y="2986627"/>
                  <a:pt x="5617404" y="2976102"/>
                  <a:pt x="5608025" y="2968209"/>
                </a:cubicBezTo>
                <a:cubicBezTo>
                  <a:pt x="5601773" y="2952421"/>
                  <a:pt x="5593437" y="2934003"/>
                  <a:pt x="5585101" y="2926109"/>
                </a:cubicBezTo>
                <a:cubicBezTo>
                  <a:pt x="5581975" y="2915584"/>
                  <a:pt x="5575722" y="2912952"/>
                  <a:pt x="5574680" y="2899796"/>
                </a:cubicBezTo>
                <a:cubicBezTo>
                  <a:pt x="5572075" y="2855065"/>
                  <a:pt x="5574941" y="2834014"/>
                  <a:pt x="5581974" y="2823490"/>
                </a:cubicBezTo>
                <a:close/>
                <a:moveTo>
                  <a:pt x="6051901" y="1818173"/>
                </a:moveTo>
                <a:lnTo>
                  <a:pt x="6053622" y="1820324"/>
                </a:lnTo>
                <a:cubicBezTo>
                  <a:pt x="6057400" y="1826244"/>
                  <a:pt x="6060266" y="1831506"/>
                  <a:pt x="6060266" y="1831506"/>
                </a:cubicBezTo>
                <a:cubicBezTo>
                  <a:pt x="6057140" y="1863081"/>
                  <a:pt x="6056944" y="1841373"/>
                  <a:pt x="6053085" y="1821886"/>
                </a:cubicBezTo>
                <a:close/>
                <a:moveTo>
                  <a:pt x="6055092" y="1779878"/>
                </a:moveTo>
                <a:lnTo>
                  <a:pt x="6058393" y="1782499"/>
                </a:lnTo>
                <a:cubicBezTo>
                  <a:pt x="6060135" y="1783979"/>
                  <a:pt x="6062610" y="1786117"/>
                  <a:pt x="6066518" y="1789406"/>
                </a:cubicBezTo>
                <a:cubicBezTo>
                  <a:pt x="6068602" y="1792038"/>
                  <a:pt x="6072770" y="1794669"/>
                  <a:pt x="6072770" y="1794669"/>
                </a:cubicBezTo>
                <a:cubicBezTo>
                  <a:pt x="6073812" y="1799931"/>
                  <a:pt x="6079022" y="1807825"/>
                  <a:pt x="6076938" y="1810456"/>
                </a:cubicBezTo>
                <a:cubicBezTo>
                  <a:pt x="6073812" y="1815718"/>
                  <a:pt x="6067820" y="1806509"/>
                  <a:pt x="6062219" y="1795326"/>
                </a:cubicBezTo>
                <a:close/>
                <a:moveTo>
                  <a:pt x="5664564" y="1313854"/>
                </a:moveTo>
                <a:lnTo>
                  <a:pt x="5677467" y="1300772"/>
                </a:lnTo>
                <a:cubicBezTo>
                  <a:pt x="5681737" y="1298270"/>
                  <a:pt x="5685693" y="1298777"/>
                  <a:pt x="5689015" y="1305200"/>
                </a:cubicBezTo>
                <a:cubicBezTo>
                  <a:pt x="5689330" y="1305192"/>
                  <a:pt x="5689522" y="1306510"/>
                  <a:pt x="5689613" y="1308860"/>
                </a:cubicBezTo>
                <a:lnTo>
                  <a:pt x="5689606" y="1317781"/>
                </a:lnTo>
                <a:lnTo>
                  <a:pt x="5687002" y="1318681"/>
                </a:lnTo>
                <a:close/>
                <a:moveTo>
                  <a:pt x="5618421" y="1307047"/>
                </a:moveTo>
                <a:cubicBezTo>
                  <a:pt x="5630669" y="1305100"/>
                  <a:pt x="5643050" y="1308234"/>
                  <a:pt x="5654752" y="1311743"/>
                </a:cubicBezTo>
                <a:lnTo>
                  <a:pt x="5664564" y="1313854"/>
                </a:lnTo>
                <a:lnTo>
                  <a:pt x="5664026" y="1314400"/>
                </a:lnTo>
                <a:cubicBezTo>
                  <a:pt x="5654859" y="1325626"/>
                  <a:pt x="5645702" y="1337260"/>
                  <a:pt x="5639101" y="1326039"/>
                </a:cubicBezTo>
                <a:cubicBezTo>
                  <a:pt x="5622543" y="1319961"/>
                  <a:pt x="5617245" y="1310334"/>
                  <a:pt x="5609357" y="1346349"/>
                </a:cubicBezTo>
                <a:cubicBezTo>
                  <a:pt x="5590124" y="1382661"/>
                  <a:pt x="5616070" y="1313620"/>
                  <a:pt x="5618421" y="1307047"/>
                </a:cubicBezTo>
                <a:close/>
                <a:moveTo>
                  <a:pt x="5312922" y="527242"/>
                </a:moveTo>
                <a:lnTo>
                  <a:pt x="5313796" y="527970"/>
                </a:lnTo>
                <a:lnTo>
                  <a:pt x="5313411" y="529367"/>
                </a:lnTo>
                <a:lnTo>
                  <a:pt x="5311215" y="533432"/>
                </a:lnTo>
                <a:close/>
                <a:moveTo>
                  <a:pt x="5295784" y="547224"/>
                </a:moveTo>
                <a:cubicBezTo>
                  <a:pt x="5301371" y="543822"/>
                  <a:pt x="5305426" y="542088"/>
                  <a:pt x="5308786" y="537931"/>
                </a:cubicBezTo>
                <a:lnTo>
                  <a:pt x="5311215" y="533432"/>
                </a:lnTo>
                <a:lnTo>
                  <a:pt x="5308133" y="544611"/>
                </a:lnTo>
                <a:cubicBezTo>
                  <a:pt x="5304424" y="561036"/>
                  <a:pt x="5303040" y="571449"/>
                  <a:pt x="5295784" y="547224"/>
                </a:cubicBezTo>
                <a:close/>
                <a:moveTo>
                  <a:pt x="5189290" y="624665"/>
                </a:moveTo>
                <a:lnTo>
                  <a:pt x="5191442" y="627269"/>
                </a:lnTo>
                <a:cubicBezTo>
                  <a:pt x="5196203" y="634469"/>
                  <a:pt x="5199840" y="640885"/>
                  <a:pt x="5199840" y="640885"/>
                </a:cubicBezTo>
                <a:cubicBezTo>
                  <a:pt x="5197079" y="680022"/>
                  <a:pt x="5196141" y="653189"/>
                  <a:pt x="5190842" y="629217"/>
                </a:cubicBezTo>
                <a:close/>
                <a:moveTo>
                  <a:pt x="5191911" y="577218"/>
                </a:moveTo>
                <a:lnTo>
                  <a:pt x="5195989" y="580353"/>
                </a:lnTo>
                <a:cubicBezTo>
                  <a:pt x="5198145" y="582128"/>
                  <a:pt x="5201208" y="584693"/>
                  <a:pt x="5206041" y="588636"/>
                </a:cubicBezTo>
                <a:cubicBezTo>
                  <a:pt x="5208648" y="591824"/>
                  <a:pt x="5213775" y="594944"/>
                  <a:pt x="5213775" y="594944"/>
                </a:cubicBezTo>
                <a:cubicBezTo>
                  <a:pt x="5215206" y="601418"/>
                  <a:pt x="5221765" y="611012"/>
                  <a:pt x="5219328" y="614332"/>
                </a:cubicBezTo>
                <a:cubicBezTo>
                  <a:pt x="5215717" y="620937"/>
                  <a:pt x="5208171" y="609740"/>
                  <a:pt x="5201033" y="596091"/>
                </a:cubicBezTo>
                <a:close/>
                <a:moveTo>
                  <a:pt x="4877413" y="853189"/>
                </a:moveTo>
                <a:cubicBezTo>
                  <a:pt x="4870954" y="859462"/>
                  <a:pt x="4869719" y="872515"/>
                  <a:pt x="4878722" y="903206"/>
                </a:cubicBezTo>
                <a:cubicBezTo>
                  <a:pt x="4901088" y="938430"/>
                  <a:pt x="4908838" y="993569"/>
                  <a:pt x="4926350" y="1084260"/>
                </a:cubicBezTo>
                <a:cubicBezTo>
                  <a:pt x="4911802" y="1058598"/>
                  <a:pt x="4896403" y="1000404"/>
                  <a:pt x="4890339" y="961499"/>
                </a:cubicBezTo>
                <a:cubicBezTo>
                  <a:pt x="4873610" y="948915"/>
                  <a:pt x="4872179" y="942442"/>
                  <a:pt x="4851839" y="936464"/>
                </a:cubicBezTo>
                <a:cubicBezTo>
                  <a:pt x="4829505" y="998900"/>
                  <a:pt x="4858447" y="1092549"/>
                  <a:pt x="4842671" y="1164580"/>
                </a:cubicBezTo>
                <a:cubicBezTo>
                  <a:pt x="4831411" y="1168129"/>
                  <a:pt x="4812161" y="1155611"/>
                  <a:pt x="4810406" y="1184956"/>
                </a:cubicBezTo>
                <a:cubicBezTo>
                  <a:pt x="4809742" y="1207761"/>
                  <a:pt x="4820030" y="1311663"/>
                  <a:pt x="4812449" y="1263032"/>
                </a:cubicBezTo>
                <a:cubicBezTo>
                  <a:pt x="4800848" y="1253569"/>
                  <a:pt x="4795534" y="1195111"/>
                  <a:pt x="4788737" y="1224588"/>
                </a:cubicBezTo>
                <a:cubicBezTo>
                  <a:pt x="4774290" y="1251009"/>
                  <a:pt x="4764716" y="1270791"/>
                  <a:pt x="4763387" y="1316401"/>
                </a:cubicBezTo>
                <a:cubicBezTo>
                  <a:pt x="4732127" y="1326985"/>
                  <a:pt x="4750031" y="1336283"/>
                  <a:pt x="4740388" y="1401642"/>
                </a:cubicBezTo>
                <a:cubicBezTo>
                  <a:pt x="4735022" y="1437592"/>
                  <a:pt x="4731410" y="1444197"/>
                  <a:pt x="4742432" y="1479718"/>
                </a:cubicBezTo>
                <a:cubicBezTo>
                  <a:pt x="4742432" y="1479718"/>
                  <a:pt x="4753027" y="1498973"/>
                  <a:pt x="4758240" y="1505347"/>
                </a:cubicBezTo>
                <a:cubicBezTo>
                  <a:pt x="4763452" y="1511722"/>
                  <a:pt x="4769670" y="1508304"/>
                  <a:pt x="4776059" y="1511391"/>
                </a:cubicBezTo>
                <a:cubicBezTo>
                  <a:pt x="4787148" y="1501336"/>
                  <a:pt x="4789398" y="1442680"/>
                  <a:pt x="4795547" y="1484839"/>
                </a:cubicBezTo>
                <a:cubicBezTo>
                  <a:pt x="4791611" y="1527262"/>
                  <a:pt x="4786058" y="1507874"/>
                  <a:pt x="4784984" y="1563244"/>
                </a:cubicBezTo>
                <a:cubicBezTo>
                  <a:pt x="4773570" y="1609118"/>
                  <a:pt x="4775017" y="1664421"/>
                  <a:pt x="4773943" y="1719791"/>
                </a:cubicBezTo>
                <a:lnTo>
                  <a:pt x="4773249" y="1693255"/>
                </a:lnTo>
                <a:lnTo>
                  <a:pt x="4773366" y="1691729"/>
                </a:lnTo>
                <a:cubicBezTo>
                  <a:pt x="4773428" y="1688065"/>
                  <a:pt x="4773007" y="1684006"/>
                  <a:pt x="4772581" y="1667741"/>
                </a:cubicBezTo>
                <a:lnTo>
                  <a:pt x="4773249" y="1693255"/>
                </a:lnTo>
                <a:lnTo>
                  <a:pt x="4772851" y="1698405"/>
                </a:lnTo>
                <a:cubicBezTo>
                  <a:pt x="4772519" y="1701517"/>
                  <a:pt x="4772006" y="1706006"/>
                  <a:pt x="4771252" y="1713350"/>
                </a:cubicBezTo>
                <a:cubicBezTo>
                  <a:pt x="4762768" y="1726594"/>
                  <a:pt x="4760758" y="1746179"/>
                  <a:pt x="4752274" y="1759423"/>
                </a:cubicBezTo>
                <a:cubicBezTo>
                  <a:pt x="4730929" y="1763236"/>
                  <a:pt x="4717982" y="1750553"/>
                  <a:pt x="4707743" y="1793141"/>
                </a:cubicBezTo>
                <a:cubicBezTo>
                  <a:pt x="4695733" y="1816243"/>
                  <a:pt x="4703978" y="1842070"/>
                  <a:pt x="4691967" y="1865172"/>
                </a:cubicBezTo>
                <a:cubicBezTo>
                  <a:pt x="4658101" y="1872570"/>
                  <a:pt x="4637761" y="1866590"/>
                  <a:pt x="4646959" y="1977032"/>
                </a:cubicBezTo>
                <a:cubicBezTo>
                  <a:pt x="4648645" y="1993265"/>
                  <a:pt x="4656294" y="1996321"/>
                  <a:pt x="4660416" y="2009234"/>
                </a:cubicBezTo>
                <a:cubicBezTo>
                  <a:pt x="4670756" y="2018730"/>
                  <a:pt x="4681437" y="2041237"/>
                  <a:pt x="4689512" y="2060559"/>
                </a:cubicBezTo>
                <a:cubicBezTo>
                  <a:pt x="4701112" y="2070021"/>
                  <a:pt x="4702714" y="2083001"/>
                  <a:pt x="4706001" y="2112213"/>
                </a:cubicBezTo>
                <a:cubicBezTo>
                  <a:pt x="4706001" y="2112213"/>
                  <a:pt x="4668183" y="2113202"/>
                  <a:pt x="4676257" y="2132524"/>
                </a:cubicBezTo>
                <a:cubicBezTo>
                  <a:pt x="4682986" y="2148625"/>
                  <a:pt x="4695252" y="2135282"/>
                  <a:pt x="4704161" y="2138305"/>
                </a:cubicBezTo>
                <a:cubicBezTo>
                  <a:pt x="4717687" y="2124929"/>
                  <a:pt x="4709118" y="2134919"/>
                  <a:pt x="4726001" y="2105179"/>
                </a:cubicBezTo>
                <a:cubicBezTo>
                  <a:pt x="4747686" y="2114378"/>
                  <a:pt x="4736341" y="2114674"/>
                  <a:pt x="4761127" y="2097749"/>
                </a:cubicBezTo>
                <a:cubicBezTo>
                  <a:pt x="4761127" y="2097749"/>
                  <a:pt x="4766851" y="2123642"/>
                  <a:pt x="4767191" y="2136655"/>
                </a:cubicBezTo>
                <a:cubicBezTo>
                  <a:pt x="4767532" y="2149667"/>
                  <a:pt x="4763000" y="2169318"/>
                  <a:pt x="4760649" y="2175891"/>
                </a:cubicBezTo>
                <a:cubicBezTo>
                  <a:pt x="4750734" y="2182661"/>
                  <a:pt x="4740735" y="2186178"/>
                  <a:pt x="4730905" y="2196201"/>
                </a:cubicBezTo>
                <a:cubicBezTo>
                  <a:pt x="4713342" y="2199916"/>
                  <a:pt x="4691486" y="2184211"/>
                  <a:pt x="4686374" y="2229920"/>
                </a:cubicBezTo>
                <a:cubicBezTo>
                  <a:pt x="4686374" y="2229920"/>
                  <a:pt x="4696630" y="2236163"/>
                  <a:pt x="4701843" y="2242536"/>
                </a:cubicBezTo>
                <a:cubicBezTo>
                  <a:pt x="4714874" y="2258473"/>
                  <a:pt x="4728331" y="2290674"/>
                  <a:pt x="4734311" y="2326327"/>
                </a:cubicBezTo>
                <a:cubicBezTo>
                  <a:pt x="4684142" y="2337406"/>
                  <a:pt x="4701279" y="2317425"/>
                  <a:pt x="4715162" y="2365892"/>
                </a:cubicBezTo>
                <a:cubicBezTo>
                  <a:pt x="4725673" y="2381894"/>
                  <a:pt x="4735263" y="2410941"/>
                  <a:pt x="4742247" y="2436802"/>
                </a:cubicBezTo>
                <a:cubicBezTo>
                  <a:pt x="4754103" y="2456024"/>
                  <a:pt x="4762008" y="2468839"/>
                  <a:pt x="4769981" y="2436076"/>
                </a:cubicBezTo>
                <a:cubicBezTo>
                  <a:pt x="4797544" y="2428844"/>
                  <a:pt x="4815772" y="2402324"/>
                  <a:pt x="4842074" y="2395125"/>
                </a:cubicBezTo>
                <a:cubicBezTo>
                  <a:pt x="4864016" y="2414083"/>
                  <a:pt x="4884866" y="2439580"/>
                  <a:pt x="4904627" y="2471617"/>
                </a:cubicBezTo>
                <a:cubicBezTo>
                  <a:pt x="4909924" y="2481245"/>
                  <a:pt x="4917574" y="2484300"/>
                  <a:pt x="4920435" y="2497246"/>
                </a:cubicBezTo>
                <a:cubicBezTo>
                  <a:pt x="4924813" y="2519919"/>
                  <a:pt x="4922973" y="2546010"/>
                  <a:pt x="4924829" y="2568750"/>
                </a:cubicBezTo>
                <a:cubicBezTo>
                  <a:pt x="4924829" y="2568750"/>
                  <a:pt x="4928031" y="2594708"/>
                  <a:pt x="4930893" y="2607655"/>
                </a:cubicBezTo>
                <a:cubicBezTo>
                  <a:pt x="4938048" y="2640022"/>
                  <a:pt x="4945202" y="2672388"/>
                  <a:pt x="4953617" y="2704722"/>
                </a:cubicBezTo>
                <a:cubicBezTo>
                  <a:pt x="4973479" y="2788842"/>
                  <a:pt x="4971501" y="2906086"/>
                  <a:pt x="4968842" y="2997307"/>
                </a:cubicBezTo>
                <a:cubicBezTo>
                  <a:pt x="4968842" y="2997307"/>
                  <a:pt x="4974991" y="3039465"/>
                  <a:pt x="4980459" y="3055599"/>
                </a:cubicBezTo>
                <a:cubicBezTo>
                  <a:pt x="4994342" y="3104067"/>
                  <a:pt x="4994428" y="3107319"/>
                  <a:pt x="4998481" y="3165810"/>
                </a:cubicBezTo>
                <a:cubicBezTo>
                  <a:pt x="5004545" y="3204716"/>
                  <a:pt x="5015141" y="3223971"/>
                  <a:pt x="5027576" y="3217135"/>
                </a:cubicBezTo>
                <a:cubicBezTo>
                  <a:pt x="5042124" y="3242797"/>
                  <a:pt x="5054645" y="3239214"/>
                  <a:pt x="5064406" y="3274768"/>
                </a:cubicBezTo>
                <a:cubicBezTo>
                  <a:pt x="5073656" y="3290803"/>
                  <a:pt x="5079379" y="3316696"/>
                  <a:pt x="5083927" y="3345875"/>
                </a:cubicBezTo>
                <a:cubicBezTo>
                  <a:pt x="5066774" y="3317025"/>
                  <a:pt x="5059380" y="3323730"/>
                  <a:pt x="5035343" y="3321103"/>
                </a:cubicBezTo>
                <a:cubicBezTo>
                  <a:pt x="5011902" y="3341249"/>
                  <a:pt x="5023025" y="3428853"/>
                  <a:pt x="5032036" y="3483958"/>
                </a:cubicBezTo>
                <a:cubicBezTo>
                  <a:pt x="5054914" y="3538701"/>
                  <a:pt x="5051557" y="3555066"/>
                  <a:pt x="5051420" y="3646219"/>
                </a:cubicBezTo>
                <a:cubicBezTo>
                  <a:pt x="5041283" y="3740891"/>
                  <a:pt x="5050140" y="3838319"/>
                  <a:pt x="5051518" y="3939200"/>
                </a:cubicBezTo>
                <a:cubicBezTo>
                  <a:pt x="5051518" y="3939200"/>
                  <a:pt x="5060103" y="3978040"/>
                  <a:pt x="5063135" y="3997493"/>
                </a:cubicBezTo>
                <a:cubicBezTo>
                  <a:pt x="5070630" y="4042872"/>
                  <a:pt x="5088704" y="4058676"/>
                  <a:pt x="5091242" y="4107440"/>
                </a:cubicBezTo>
                <a:cubicBezTo>
                  <a:pt x="5097391" y="4149599"/>
                  <a:pt x="5096061" y="4195209"/>
                  <a:pt x="5102210" y="4237368"/>
                </a:cubicBezTo>
                <a:cubicBezTo>
                  <a:pt x="5115413" y="4259810"/>
                  <a:pt x="5117610" y="4295562"/>
                  <a:pt x="5124764" y="4327928"/>
                </a:cubicBezTo>
                <a:cubicBezTo>
                  <a:pt x="5132003" y="4363547"/>
                  <a:pt x="5139583" y="4412180"/>
                  <a:pt x="5147998" y="4444513"/>
                </a:cubicBezTo>
                <a:cubicBezTo>
                  <a:pt x="5150860" y="4457460"/>
                  <a:pt x="5157333" y="4463802"/>
                  <a:pt x="5161456" y="4476715"/>
                </a:cubicBezTo>
                <a:cubicBezTo>
                  <a:pt x="5161456" y="4476715"/>
                  <a:pt x="5172051" y="4495970"/>
                  <a:pt x="5177264" y="4502344"/>
                </a:cubicBezTo>
                <a:cubicBezTo>
                  <a:pt x="5191641" y="4521500"/>
                  <a:pt x="5204673" y="4537436"/>
                  <a:pt x="5216785" y="4566417"/>
                </a:cubicBezTo>
                <a:cubicBezTo>
                  <a:pt x="5233513" y="4579001"/>
                  <a:pt x="5251247" y="4581792"/>
                  <a:pt x="5267720" y="4584617"/>
                </a:cubicBezTo>
                <a:cubicBezTo>
                  <a:pt x="5281400" y="4528917"/>
                  <a:pt x="5283054" y="4447490"/>
                  <a:pt x="5282612" y="4382394"/>
                </a:cubicBezTo>
                <a:cubicBezTo>
                  <a:pt x="5282612" y="4382394"/>
                  <a:pt x="5284452" y="4356303"/>
                  <a:pt x="5286633" y="4343225"/>
                </a:cubicBezTo>
                <a:cubicBezTo>
                  <a:pt x="5288813" y="4330146"/>
                  <a:pt x="5282170" y="4317298"/>
                  <a:pt x="5285611" y="4304187"/>
                </a:cubicBezTo>
                <a:cubicBezTo>
                  <a:pt x="5313328" y="4254631"/>
                  <a:pt x="5316226" y="4124340"/>
                  <a:pt x="5316789" y="4049452"/>
                </a:cubicBezTo>
                <a:cubicBezTo>
                  <a:pt x="5316789" y="4049452"/>
                  <a:pt x="5335358" y="4035945"/>
                  <a:pt x="5344012" y="4029207"/>
                </a:cubicBezTo>
                <a:cubicBezTo>
                  <a:pt x="5361235" y="4012480"/>
                  <a:pt x="5371814" y="3982904"/>
                  <a:pt x="5387691" y="3962957"/>
                </a:cubicBezTo>
                <a:cubicBezTo>
                  <a:pt x="5398611" y="3946395"/>
                  <a:pt x="5410281" y="3910280"/>
                  <a:pt x="5415903" y="3884090"/>
                </a:cubicBezTo>
                <a:cubicBezTo>
                  <a:pt x="5423791" y="3848074"/>
                  <a:pt x="5444592" y="3727081"/>
                  <a:pt x="5446092" y="3687977"/>
                </a:cubicBezTo>
                <a:cubicBezTo>
                  <a:pt x="5456671" y="3658403"/>
                  <a:pt x="5449448" y="3671613"/>
                  <a:pt x="5467931" y="3654853"/>
                </a:cubicBezTo>
                <a:cubicBezTo>
                  <a:pt x="5475495" y="3654654"/>
                  <a:pt x="5554743" y="3646070"/>
                  <a:pt x="5559684" y="3593855"/>
                </a:cubicBezTo>
                <a:cubicBezTo>
                  <a:pt x="5562785" y="3567730"/>
                  <a:pt x="5580263" y="3560762"/>
                  <a:pt x="5583364" y="3534639"/>
                </a:cubicBezTo>
                <a:cubicBezTo>
                  <a:pt x="5596635" y="3511504"/>
                  <a:pt x="5600826" y="3478840"/>
                  <a:pt x="5611406" y="3449265"/>
                </a:cubicBezTo>
                <a:cubicBezTo>
                  <a:pt x="5618458" y="3429548"/>
                  <a:pt x="5615512" y="3413348"/>
                  <a:pt x="5625171" y="3396819"/>
                </a:cubicBezTo>
                <a:cubicBezTo>
                  <a:pt x="5562549" y="3365904"/>
                  <a:pt x="5572242" y="3447034"/>
                  <a:pt x="5562926" y="3235679"/>
                </a:cubicBezTo>
                <a:cubicBezTo>
                  <a:pt x="5575788" y="3245109"/>
                  <a:pt x="5582516" y="3261210"/>
                  <a:pt x="5587150" y="3293641"/>
                </a:cubicBezTo>
                <a:cubicBezTo>
                  <a:pt x="5595054" y="3306456"/>
                  <a:pt x="5603128" y="3325778"/>
                  <a:pt x="5611032" y="3338592"/>
                </a:cubicBezTo>
                <a:cubicBezTo>
                  <a:pt x="5640282" y="3347593"/>
                  <a:pt x="5637760" y="3347659"/>
                  <a:pt x="5639754" y="3279244"/>
                </a:cubicBezTo>
                <a:cubicBezTo>
                  <a:pt x="5639754" y="3279244"/>
                  <a:pt x="5638954" y="3272754"/>
                  <a:pt x="5637796" y="3264646"/>
                </a:cubicBezTo>
                <a:lnTo>
                  <a:pt x="5633701" y="3240399"/>
                </a:lnTo>
                <a:lnTo>
                  <a:pt x="5634206" y="3241531"/>
                </a:lnTo>
                <a:cubicBezTo>
                  <a:pt x="5637723" y="3251727"/>
                  <a:pt x="5640849" y="3262909"/>
                  <a:pt x="5643454" y="3273435"/>
                </a:cubicBezTo>
                <a:cubicBezTo>
                  <a:pt x="5652832" y="3289222"/>
                  <a:pt x="5659085" y="3299747"/>
                  <a:pt x="5666379" y="3273434"/>
                </a:cubicBezTo>
                <a:cubicBezTo>
                  <a:pt x="5689304" y="3268172"/>
                  <a:pt x="5704934" y="3247122"/>
                  <a:pt x="5726817" y="3241859"/>
                </a:cubicBezTo>
                <a:cubicBezTo>
                  <a:pt x="5744531" y="3257647"/>
                  <a:pt x="5761203" y="3278697"/>
                  <a:pt x="5776834" y="3305010"/>
                </a:cubicBezTo>
                <a:cubicBezTo>
                  <a:pt x="5781002" y="3312904"/>
                  <a:pt x="5787254" y="3315535"/>
                  <a:pt x="5789338" y="3326059"/>
                </a:cubicBezTo>
                <a:cubicBezTo>
                  <a:pt x="5792464" y="3344479"/>
                  <a:pt x="5790380" y="3365529"/>
                  <a:pt x="5791422" y="3383947"/>
                </a:cubicBezTo>
                <a:cubicBezTo>
                  <a:pt x="5791422" y="3383947"/>
                  <a:pt x="5793506" y="3404997"/>
                  <a:pt x="5795590" y="3415523"/>
                </a:cubicBezTo>
                <a:cubicBezTo>
                  <a:pt x="5800800" y="3441835"/>
                  <a:pt x="5806010" y="3468148"/>
                  <a:pt x="5812263" y="3494460"/>
                </a:cubicBezTo>
                <a:cubicBezTo>
                  <a:pt x="5826851" y="3562873"/>
                  <a:pt x="5822683" y="3657598"/>
                  <a:pt x="5818515" y="3731273"/>
                </a:cubicBezTo>
                <a:cubicBezTo>
                  <a:pt x="5818515" y="3731273"/>
                  <a:pt x="5822683" y="3765479"/>
                  <a:pt x="5826851" y="3778636"/>
                </a:cubicBezTo>
                <a:cubicBezTo>
                  <a:pt x="5837272" y="3818105"/>
                  <a:pt x="5837271" y="3820736"/>
                  <a:pt x="5839355" y="3868098"/>
                </a:cubicBezTo>
                <a:cubicBezTo>
                  <a:pt x="5843523" y="3899674"/>
                  <a:pt x="5851859" y="3915461"/>
                  <a:pt x="5862280" y="3910199"/>
                </a:cubicBezTo>
                <a:cubicBezTo>
                  <a:pt x="5873742" y="3931249"/>
                  <a:pt x="5884162" y="3928618"/>
                  <a:pt x="5891457" y="3957561"/>
                </a:cubicBezTo>
                <a:cubicBezTo>
                  <a:pt x="5898751" y="3970718"/>
                  <a:pt x="5902919" y="3991768"/>
                  <a:pt x="5906045" y="4015449"/>
                </a:cubicBezTo>
                <a:cubicBezTo>
                  <a:pt x="5892499" y="3991767"/>
                  <a:pt x="5886247" y="3997030"/>
                  <a:pt x="5866448" y="3994399"/>
                </a:cubicBezTo>
                <a:cubicBezTo>
                  <a:pt x="5846649" y="4010187"/>
                  <a:pt x="5853944" y="4081230"/>
                  <a:pt x="5860196" y="4125962"/>
                </a:cubicBezTo>
                <a:cubicBezTo>
                  <a:pt x="5877910" y="4170693"/>
                  <a:pt x="5874784" y="4183850"/>
                  <a:pt x="5872700" y="4257525"/>
                </a:cubicBezTo>
                <a:cubicBezTo>
                  <a:pt x="5862280" y="4333831"/>
                  <a:pt x="5867490" y="4412768"/>
                  <a:pt x="5866448" y="4494337"/>
                </a:cubicBezTo>
                <a:cubicBezTo>
                  <a:pt x="5866448" y="4494337"/>
                  <a:pt x="5872700" y="4525913"/>
                  <a:pt x="5874784" y="4541700"/>
                </a:cubicBezTo>
                <a:cubicBezTo>
                  <a:pt x="5879994" y="4578538"/>
                  <a:pt x="5894583" y="4591694"/>
                  <a:pt x="5895625" y="4631163"/>
                </a:cubicBezTo>
                <a:cubicBezTo>
                  <a:pt x="5899793" y="4665369"/>
                  <a:pt x="5897709" y="4702207"/>
                  <a:pt x="5901877" y="4736413"/>
                </a:cubicBezTo>
                <a:cubicBezTo>
                  <a:pt x="5912297" y="4754832"/>
                  <a:pt x="5913339" y="4783776"/>
                  <a:pt x="5918549" y="4810088"/>
                </a:cubicBezTo>
                <a:cubicBezTo>
                  <a:pt x="5923759" y="4839032"/>
                  <a:pt x="5928970" y="4878501"/>
                  <a:pt x="5935222" y="4904813"/>
                </a:cubicBezTo>
                <a:cubicBezTo>
                  <a:pt x="5937306" y="4915338"/>
                  <a:pt x="5942516" y="4920601"/>
                  <a:pt x="5945642" y="4931126"/>
                </a:cubicBezTo>
                <a:cubicBezTo>
                  <a:pt x="5945642" y="4931126"/>
                  <a:pt x="5953979" y="4946913"/>
                  <a:pt x="5958146" y="4952176"/>
                </a:cubicBezTo>
                <a:cubicBezTo>
                  <a:pt x="5969609" y="4967963"/>
                  <a:pt x="5980029" y="4981120"/>
                  <a:pt x="5989408" y="5004801"/>
                </a:cubicBezTo>
                <a:cubicBezTo>
                  <a:pt x="6002954" y="5015327"/>
                  <a:pt x="6017542" y="5017958"/>
                  <a:pt x="6031089" y="5020589"/>
                </a:cubicBezTo>
                <a:cubicBezTo>
                  <a:pt x="6043593" y="4975858"/>
                  <a:pt x="6046719" y="4910076"/>
                  <a:pt x="6047761" y="4857451"/>
                </a:cubicBezTo>
                <a:cubicBezTo>
                  <a:pt x="6047761" y="4857451"/>
                  <a:pt x="6049845" y="4836401"/>
                  <a:pt x="6051929" y="4825876"/>
                </a:cubicBezTo>
                <a:cubicBezTo>
                  <a:pt x="6054013" y="4815351"/>
                  <a:pt x="6048803" y="4804826"/>
                  <a:pt x="6051930" y="4794301"/>
                </a:cubicBezTo>
                <a:cubicBezTo>
                  <a:pt x="6075896" y="4754832"/>
                  <a:pt x="6081106" y="4649582"/>
                  <a:pt x="6083190" y="4589062"/>
                </a:cubicBezTo>
                <a:cubicBezTo>
                  <a:pt x="6083190" y="4589062"/>
                  <a:pt x="6098820" y="4578537"/>
                  <a:pt x="6106114" y="4573275"/>
                </a:cubicBezTo>
                <a:cubicBezTo>
                  <a:pt x="6120703" y="4560119"/>
                  <a:pt x="6130081" y="4536437"/>
                  <a:pt x="6143627" y="4520650"/>
                </a:cubicBezTo>
                <a:cubicBezTo>
                  <a:pt x="6153006" y="4507494"/>
                  <a:pt x="6163426" y="4478550"/>
                  <a:pt x="6168636" y="4457500"/>
                </a:cubicBezTo>
                <a:cubicBezTo>
                  <a:pt x="6175930" y="4428556"/>
                  <a:pt x="6195729" y="4331200"/>
                  <a:pt x="6197813" y="4299625"/>
                </a:cubicBezTo>
                <a:cubicBezTo>
                  <a:pt x="6207192" y="4275943"/>
                  <a:pt x="6200939" y="4286468"/>
                  <a:pt x="6216570" y="4273312"/>
                </a:cubicBezTo>
                <a:cubicBezTo>
                  <a:pt x="6222822" y="4273312"/>
                  <a:pt x="6288469" y="4268050"/>
                  <a:pt x="6293680" y="4225950"/>
                </a:cubicBezTo>
                <a:cubicBezTo>
                  <a:pt x="6296806" y="4204900"/>
                  <a:pt x="6311394" y="4199637"/>
                  <a:pt x="6314520" y="4178586"/>
                </a:cubicBezTo>
                <a:cubicBezTo>
                  <a:pt x="6325982" y="4160168"/>
                  <a:pt x="6330151" y="4133855"/>
                  <a:pt x="6339529" y="4110174"/>
                </a:cubicBezTo>
                <a:cubicBezTo>
                  <a:pt x="6345781" y="4094386"/>
                  <a:pt x="6343697" y="4081230"/>
                  <a:pt x="6352033" y="4068074"/>
                </a:cubicBezTo>
                <a:cubicBezTo>
                  <a:pt x="6300974" y="4041761"/>
                  <a:pt x="6307226" y="4107543"/>
                  <a:pt x="6304100" y="3936511"/>
                </a:cubicBezTo>
                <a:cubicBezTo>
                  <a:pt x="6314520" y="3944405"/>
                  <a:pt x="6319730" y="3957561"/>
                  <a:pt x="6322857" y="3983874"/>
                </a:cubicBezTo>
                <a:cubicBezTo>
                  <a:pt x="6329109" y="3994399"/>
                  <a:pt x="6335361" y="4010186"/>
                  <a:pt x="6341613" y="4020711"/>
                </a:cubicBezTo>
                <a:cubicBezTo>
                  <a:pt x="6365579" y="4028605"/>
                  <a:pt x="6363495" y="4028605"/>
                  <a:pt x="6366622" y="3973349"/>
                </a:cubicBezTo>
                <a:cubicBezTo>
                  <a:pt x="6366622" y="3973349"/>
                  <a:pt x="6364538" y="3952299"/>
                  <a:pt x="6362454" y="3941774"/>
                </a:cubicBezTo>
                <a:cubicBezTo>
                  <a:pt x="6354118" y="3910198"/>
                  <a:pt x="6354117" y="3875992"/>
                  <a:pt x="6349950" y="3841786"/>
                </a:cubicBezTo>
                <a:cubicBezTo>
                  <a:pt x="6364538" y="3854942"/>
                  <a:pt x="6359328" y="3870730"/>
                  <a:pt x="6362454" y="3825998"/>
                </a:cubicBezTo>
                <a:cubicBezTo>
                  <a:pt x="6362454" y="3825998"/>
                  <a:pt x="6363496" y="3802317"/>
                  <a:pt x="6364538" y="3778636"/>
                </a:cubicBezTo>
                <a:cubicBezTo>
                  <a:pt x="6360369" y="3749692"/>
                  <a:pt x="6371832" y="3752323"/>
                  <a:pt x="6362453" y="3715486"/>
                </a:cubicBezTo>
                <a:cubicBezTo>
                  <a:pt x="6354118" y="3702329"/>
                  <a:pt x="6334319" y="3649704"/>
                  <a:pt x="6331193" y="3626023"/>
                </a:cubicBezTo>
                <a:cubicBezTo>
                  <a:pt x="6349949" y="3623392"/>
                  <a:pt x="6384337" y="3660230"/>
                  <a:pt x="6391630" y="3604973"/>
                </a:cubicBezTo>
                <a:cubicBezTo>
                  <a:pt x="6373916" y="3597079"/>
                  <a:pt x="6365580" y="3583923"/>
                  <a:pt x="6370790" y="3541822"/>
                </a:cubicBezTo>
                <a:cubicBezTo>
                  <a:pt x="6391631" y="3533929"/>
                  <a:pt x="6388504" y="3549716"/>
                  <a:pt x="6397882" y="3504986"/>
                </a:cubicBezTo>
                <a:cubicBezTo>
                  <a:pt x="6410387" y="3447097"/>
                  <a:pt x="6398925" y="3526035"/>
                  <a:pt x="6406219" y="3473410"/>
                </a:cubicBezTo>
                <a:cubicBezTo>
                  <a:pt x="6374958" y="3460254"/>
                  <a:pt x="6371832" y="3415522"/>
                  <a:pt x="6362454" y="3341847"/>
                </a:cubicBezTo>
                <a:cubicBezTo>
                  <a:pt x="6366621" y="3312904"/>
                  <a:pt x="6365579" y="3357635"/>
                  <a:pt x="6374958" y="3394472"/>
                </a:cubicBezTo>
                <a:cubicBezTo>
                  <a:pt x="6405177" y="3444467"/>
                  <a:pt x="6397882" y="3386579"/>
                  <a:pt x="6399967" y="3310272"/>
                </a:cubicBezTo>
                <a:cubicBezTo>
                  <a:pt x="6399967" y="3310272"/>
                  <a:pt x="6396840" y="3289222"/>
                  <a:pt x="6395798" y="3278697"/>
                </a:cubicBezTo>
                <a:cubicBezTo>
                  <a:pt x="6391630" y="3247122"/>
                  <a:pt x="6395799" y="3268172"/>
                  <a:pt x="6389546" y="3241860"/>
                </a:cubicBezTo>
                <a:cubicBezTo>
                  <a:pt x="6377042" y="3231335"/>
                  <a:pt x="6365580" y="3207653"/>
                  <a:pt x="6358286" y="3178709"/>
                </a:cubicBezTo>
                <a:cubicBezTo>
                  <a:pt x="6348907" y="3162922"/>
                  <a:pt x="6359328" y="3157659"/>
                  <a:pt x="6362454" y="3131347"/>
                </a:cubicBezTo>
                <a:cubicBezTo>
                  <a:pt x="6404135" y="3126085"/>
                  <a:pt x="6410387" y="3157659"/>
                  <a:pt x="6414555" y="3073459"/>
                </a:cubicBezTo>
                <a:cubicBezTo>
                  <a:pt x="6379127" y="3055040"/>
                  <a:pt x="6354118" y="3010309"/>
                  <a:pt x="6368706" y="2899796"/>
                </a:cubicBezTo>
                <a:cubicBezTo>
                  <a:pt x="6383294" y="2886640"/>
                  <a:pt x="6367664" y="2807703"/>
                  <a:pt x="6374958" y="2778759"/>
                </a:cubicBezTo>
                <a:cubicBezTo>
                  <a:pt x="6383294" y="2765602"/>
                  <a:pt x="6393714" y="2802440"/>
                  <a:pt x="6402051" y="2789284"/>
                </a:cubicBezTo>
                <a:cubicBezTo>
                  <a:pt x="6395798" y="2762971"/>
                  <a:pt x="6402051" y="2694558"/>
                  <a:pt x="6399967" y="2662983"/>
                </a:cubicBezTo>
                <a:cubicBezTo>
                  <a:pt x="6402051" y="2618252"/>
                  <a:pt x="6392673" y="2605095"/>
                  <a:pt x="6397883" y="2562995"/>
                </a:cubicBezTo>
                <a:cubicBezTo>
                  <a:pt x="6398924" y="2557733"/>
                  <a:pt x="6402051" y="2570889"/>
                  <a:pt x="6404135" y="2573520"/>
                </a:cubicBezTo>
                <a:cubicBezTo>
                  <a:pt x="6410387" y="2576151"/>
                  <a:pt x="6416639" y="2576152"/>
                  <a:pt x="6422891" y="2578783"/>
                </a:cubicBezTo>
                <a:cubicBezTo>
                  <a:pt x="6428102" y="2570889"/>
                  <a:pt x="6437480" y="2531420"/>
                  <a:pt x="6433312" y="2520896"/>
                </a:cubicBezTo>
                <a:cubicBezTo>
                  <a:pt x="6429143" y="2510371"/>
                  <a:pt x="6399967" y="2523527"/>
                  <a:pt x="6395799" y="2510370"/>
                </a:cubicBezTo>
                <a:cubicBezTo>
                  <a:pt x="6386421" y="2494583"/>
                  <a:pt x="6389547" y="2486689"/>
                  <a:pt x="6397883" y="2473533"/>
                </a:cubicBezTo>
                <a:cubicBezTo>
                  <a:pt x="6413513" y="2470901"/>
                  <a:pt x="6438522" y="2499845"/>
                  <a:pt x="6443732" y="2463008"/>
                </a:cubicBezTo>
                <a:cubicBezTo>
                  <a:pt x="6445295" y="2451167"/>
                  <a:pt x="6449203" y="2409725"/>
                  <a:pt x="6450180" y="2389744"/>
                </a:cubicBezTo>
                <a:lnTo>
                  <a:pt x="6450166" y="2389000"/>
                </a:lnTo>
                <a:lnTo>
                  <a:pt x="6458925" y="2386286"/>
                </a:lnTo>
                <a:cubicBezTo>
                  <a:pt x="6468822" y="2379301"/>
                  <a:pt x="6475514" y="2360060"/>
                  <a:pt x="6477077" y="2315658"/>
                </a:cubicBezTo>
                <a:cubicBezTo>
                  <a:pt x="6498959" y="2307763"/>
                  <a:pt x="6485413" y="2278820"/>
                  <a:pt x="6493750" y="2231457"/>
                </a:cubicBezTo>
                <a:cubicBezTo>
                  <a:pt x="6497918" y="2205144"/>
                  <a:pt x="6508338" y="2191989"/>
                  <a:pt x="6516674" y="2178832"/>
                </a:cubicBezTo>
                <a:cubicBezTo>
                  <a:pt x="6509380" y="2152519"/>
                  <a:pt x="6512506" y="2123575"/>
                  <a:pt x="6508338" y="2094632"/>
                </a:cubicBezTo>
                <a:cubicBezTo>
                  <a:pt x="6508338" y="2094632"/>
                  <a:pt x="6500002" y="2089369"/>
                  <a:pt x="6495834" y="2084107"/>
                </a:cubicBezTo>
                <a:cubicBezTo>
                  <a:pt x="6477077" y="2052532"/>
                  <a:pt x="6488539" y="2063057"/>
                  <a:pt x="6462489" y="2057794"/>
                </a:cubicBezTo>
                <a:cubicBezTo>
                  <a:pt x="6449984" y="2068320"/>
                  <a:pt x="6445816" y="2094632"/>
                  <a:pt x="6433312" y="2105157"/>
                </a:cubicBezTo>
                <a:cubicBezTo>
                  <a:pt x="6430707" y="2102526"/>
                  <a:pt x="6425236" y="2097264"/>
                  <a:pt x="6420026" y="2092001"/>
                </a:cubicBezTo>
                <a:lnTo>
                  <a:pt x="6416859" y="2088446"/>
                </a:lnTo>
                <a:lnTo>
                  <a:pt x="6414555" y="2073582"/>
                </a:lnTo>
                <a:cubicBezTo>
                  <a:pt x="6411429" y="2060426"/>
                  <a:pt x="6407000" y="2049243"/>
                  <a:pt x="6403744" y="2037731"/>
                </a:cubicBezTo>
                <a:lnTo>
                  <a:pt x="6403469" y="2034974"/>
                </a:lnTo>
                <a:lnTo>
                  <a:pt x="6402881" y="2019271"/>
                </a:lnTo>
                <a:cubicBezTo>
                  <a:pt x="6402377" y="2011912"/>
                  <a:pt x="6401530" y="2005169"/>
                  <a:pt x="6399967" y="1999907"/>
                </a:cubicBezTo>
                <a:lnTo>
                  <a:pt x="6403469" y="2034974"/>
                </a:lnTo>
                <a:lnTo>
                  <a:pt x="6403744" y="2042336"/>
                </a:lnTo>
                <a:cubicBezTo>
                  <a:pt x="6404135" y="2057794"/>
                  <a:pt x="6404656" y="2072265"/>
                  <a:pt x="6408303" y="2078844"/>
                </a:cubicBezTo>
                <a:lnTo>
                  <a:pt x="6416859" y="2088446"/>
                </a:lnTo>
                <a:lnTo>
                  <a:pt x="6418072" y="2096276"/>
                </a:lnTo>
                <a:cubicBezTo>
                  <a:pt x="6417942" y="2104499"/>
                  <a:pt x="6417681" y="2113050"/>
                  <a:pt x="6420807" y="2120944"/>
                </a:cubicBezTo>
                <a:cubicBezTo>
                  <a:pt x="6422892" y="2123575"/>
                  <a:pt x="6426017" y="2123576"/>
                  <a:pt x="6427060" y="2126207"/>
                </a:cubicBezTo>
                <a:cubicBezTo>
                  <a:pt x="6428102" y="2128838"/>
                  <a:pt x="6427060" y="2139363"/>
                  <a:pt x="6429144" y="2141995"/>
                </a:cubicBezTo>
                <a:cubicBezTo>
                  <a:pt x="6431228" y="2147257"/>
                  <a:pt x="6435395" y="2163045"/>
                  <a:pt x="6433312" y="2168307"/>
                </a:cubicBezTo>
                <a:cubicBezTo>
                  <a:pt x="6430186" y="2176201"/>
                  <a:pt x="6429144" y="2149888"/>
                  <a:pt x="6424975" y="2152520"/>
                </a:cubicBezTo>
                <a:cubicBezTo>
                  <a:pt x="6411429" y="2131470"/>
                  <a:pt x="6418723" y="2197251"/>
                  <a:pt x="6408303" y="2157782"/>
                </a:cubicBezTo>
                <a:cubicBezTo>
                  <a:pt x="6408303" y="2157782"/>
                  <a:pt x="6395799" y="2113050"/>
                  <a:pt x="6391631" y="2115682"/>
                </a:cubicBezTo>
                <a:cubicBezTo>
                  <a:pt x="6387462" y="2118314"/>
                  <a:pt x="6389547" y="2136732"/>
                  <a:pt x="6387462" y="2147257"/>
                </a:cubicBezTo>
                <a:cubicBezTo>
                  <a:pt x="6383294" y="2173570"/>
                  <a:pt x="6379126" y="2197251"/>
                  <a:pt x="6374958" y="2226195"/>
                </a:cubicBezTo>
                <a:cubicBezTo>
                  <a:pt x="6374958" y="2226195"/>
                  <a:pt x="6365580" y="2236720"/>
                  <a:pt x="6362454" y="2247245"/>
                </a:cubicBezTo>
                <a:cubicBezTo>
                  <a:pt x="6354118" y="2278820"/>
                  <a:pt x="6350992" y="2305133"/>
                  <a:pt x="6345781" y="2341970"/>
                </a:cubicBezTo>
                <a:cubicBezTo>
                  <a:pt x="6348907" y="2365651"/>
                  <a:pt x="6344739" y="2370914"/>
                  <a:pt x="6337445" y="2389333"/>
                </a:cubicBezTo>
                <a:cubicBezTo>
                  <a:pt x="6323899" y="2397226"/>
                  <a:pt x="6325983" y="2378807"/>
                  <a:pt x="6329109" y="2352495"/>
                </a:cubicBezTo>
                <a:cubicBezTo>
                  <a:pt x="6342655" y="2328814"/>
                  <a:pt x="6335361" y="2291976"/>
                  <a:pt x="6343697" y="2257770"/>
                </a:cubicBezTo>
                <a:cubicBezTo>
                  <a:pt x="6343697" y="2257770"/>
                  <a:pt x="6365580" y="2231457"/>
                  <a:pt x="6366622" y="2205145"/>
                </a:cubicBezTo>
                <a:cubicBezTo>
                  <a:pt x="6368706" y="2168307"/>
                  <a:pt x="6386420" y="2034114"/>
                  <a:pt x="6358286" y="2010432"/>
                </a:cubicBezTo>
                <a:cubicBezTo>
                  <a:pt x="6358286" y="2010432"/>
                  <a:pt x="6348907" y="2020957"/>
                  <a:pt x="6345781" y="2031482"/>
                </a:cubicBezTo>
                <a:cubicBezTo>
                  <a:pt x="6338487" y="2049901"/>
                  <a:pt x="6339529" y="2089370"/>
                  <a:pt x="6329109" y="2115682"/>
                </a:cubicBezTo>
                <a:cubicBezTo>
                  <a:pt x="6321815" y="2118314"/>
                  <a:pt x="6314521" y="2110419"/>
                  <a:pt x="6308268" y="2120944"/>
                </a:cubicBezTo>
                <a:cubicBezTo>
                  <a:pt x="6305142" y="2126207"/>
                  <a:pt x="6289512" y="2152520"/>
                  <a:pt x="6289512" y="2152520"/>
                </a:cubicBezTo>
                <a:cubicBezTo>
                  <a:pt x="6284302" y="2152520"/>
                  <a:pt x="6288470" y="2126207"/>
                  <a:pt x="6291596" y="2115682"/>
                </a:cubicBezTo>
                <a:cubicBezTo>
                  <a:pt x="6307226" y="2089369"/>
                  <a:pt x="6321815" y="2099895"/>
                  <a:pt x="6312436" y="2026219"/>
                </a:cubicBezTo>
                <a:cubicBezTo>
                  <a:pt x="6292638" y="2023588"/>
                  <a:pt x="6285344" y="1999907"/>
                  <a:pt x="6266587" y="2015694"/>
                </a:cubicBezTo>
                <a:cubicBezTo>
                  <a:pt x="6241579" y="2020957"/>
                  <a:pt x="6221780" y="2044638"/>
                  <a:pt x="6204066" y="2089369"/>
                </a:cubicBezTo>
                <a:cubicBezTo>
                  <a:pt x="6195729" y="2097263"/>
                  <a:pt x="6192603" y="2115682"/>
                  <a:pt x="6189477" y="2089369"/>
                </a:cubicBezTo>
                <a:cubicBezTo>
                  <a:pt x="6206149" y="2078845"/>
                  <a:pt x="6197813" y="2042007"/>
                  <a:pt x="6206150" y="2010431"/>
                </a:cubicBezTo>
                <a:cubicBezTo>
                  <a:pt x="6206150" y="2010431"/>
                  <a:pt x="6218654" y="2002538"/>
                  <a:pt x="6224906" y="1994644"/>
                </a:cubicBezTo>
                <a:cubicBezTo>
                  <a:pt x="6226990" y="1992013"/>
                  <a:pt x="6229074" y="1986751"/>
                  <a:pt x="6231158" y="1984119"/>
                </a:cubicBezTo>
                <a:cubicBezTo>
                  <a:pt x="6235326" y="1978857"/>
                  <a:pt x="6239494" y="1976226"/>
                  <a:pt x="6243663" y="1973594"/>
                </a:cubicBezTo>
                <a:cubicBezTo>
                  <a:pt x="6283260" y="1968332"/>
                  <a:pt x="6279092" y="1968332"/>
                  <a:pt x="6306184" y="1978856"/>
                </a:cubicBezTo>
                <a:cubicBezTo>
                  <a:pt x="6306184" y="1978856"/>
                  <a:pt x="6313478" y="1963069"/>
                  <a:pt x="6318689" y="1957806"/>
                </a:cubicBezTo>
                <a:cubicBezTo>
                  <a:pt x="6322857" y="1955176"/>
                  <a:pt x="6327025" y="1949913"/>
                  <a:pt x="6331193" y="1947281"/>
                </a:cubicBezTo>
                <a:cubicBezTo>
                  <a:pt x="6364538" y="1936757"/>
                  <a:pt x="6337445" y="1944650"/>
                  <a:pt x="6352033" y="1899919"/>
                </a:cubicBezTo>
                <a:cubicBezTo>
                  <a:pt x="6354118" y="1894656"/>
                  <a:pt x="6359328" y="1902550"/>
                  <a:pt x="6360370" y="1894657"/>
                </a:cubicBezTo>
                <a:cubicBezTo>
                  <a:pt x="6363496" y="1868344"/>
                  <a:pt x="6361412" y="1842031"/>
                  <a:pt x="6362454" y="1815719"/>
                </a:cubicBezTo>
                <a:cubicBezTo>
                  <a:pt x="6355160" y="1805194"/>
                  <a:pt x="6349950" y="1792038"/>
                  <a:pt x="6341613" y="1784144"/>
                </a:cubicBezTo>
                <a:cubicBezTo>
                  <a:pt x="6325983" y="1810457"/>
                  <a:pt x="6344739" y="1786775"/>
                  <a:pt x="6333277" y="1768356"/>
                </a:cubicBezTo>
                <a:cubicBezTo>
                  <a:pt x="6329109" y="1760462"/>
                  <a:pt x="6321815" y="1765725"/>
                  <a:pt x="6316604" y="1763094"/>
                </a:cubicBezTo>
                <a:cubicBezTo>
                  <a:pt x="6312437" y="1765725"/>
                  <a:pt x="6306184" y="1789406"/>
                  <a:pt x="6304100" y="1778882"/>
                </a:cubicBezTo>
                <a:cubicBezTo>
                  <a:pt x="6302016" y="1770988"/>
                  <a:pt x="6306184" y="1760463"/>
                  <a:pt x="6306184" y="1752569"/>
                </a:cubicBezTo>
                <a:cubicBezTo>
                  <a:pt x="6307226" y="1734150"/>
                  <a:pt x="6307226" y="1713100"/>
                  <a:pt x="6308268" y="1694681"/>
                </a:cubicBezTo>
                <a:cubicBezTo>
                  <a:pt x="6288470" y="1689419"/>
                  <a:pt x="6287427" y="1692050"/>
                  <a:pt x="6270755" y="1699944"/>
                </a:cubicBezTo>
                <a:cubicBezTo>
                  <a:pt x="6270755" y="1699944"/>
                  <a:pt x="6222822" y="1692050"/>
                  <a:pt x="6216570" y="1736781"/>
                </a:cubicBezTo>
                <a:cubicBezTo>
                  <a:pt x="6174889" y="1747306"/>
                  <a:pt x="6190519" y="1736781"/>
                  <a:pt x="6179057" y="1826244"/>
                </a:cubicBezTo>
                <a:cubicBezTo>
                  <a:pt x="6156132" y="1786775"/>
                  <a:pt x="6191561" y="1755200"/>
                  <a:pt x="6156132" y="1742043"/>
                </a:cubicBezTo>
                <a:cubicBezTo>
                  <a:pt x="6148838" y="1760463"/>
                  <a:pt x="6148838" y="1784143"/>
                  <a:pt x="6141544" y="1757831"/>
                </a:cubicBezTo>
                <a:cubicBezTo>
                  <a:pt x="6150922" y="1752569"/>
                  <a:pt x="6155090" y="1752568"/>
                  <a:pt x="6160301" y="1731518"/>
                </a:cubicBezTo>
                <a:cubicBezTo>
                  <a:pt x="6179057" y="1715731"/>
                  <a:pt x="6194687" y="1684156"/>
                  <a:pt x="6214486" y="1673631"/>
                </a:cubicBezTo>
                <a:cubicBezTo>
                  <a:pt x="6226990" y="1671000"/>
                  <a:pt x="6251999" y="1676262"/>
                  <a:pt x="6268671" y="1663106"/>
                </a:cubicBezTo>
                <a:cubicBezTo>
                  <a:pt x="6274924" y="1657843"/>
                  <a:pt x="6299932" y="1642055"/>
                  <a:pt x="6295764" y="1615744"/>
                </a:cubicBezTo>
                <a:cubicBezTo>
                  <a:pt x="6293680" y="1605218"/>
                  <a:pt x="6288470" y="1599956"/>
                  <a:pt x="6285344" y="1589430"/>
                </a:cubicBezTo>
                <a:cubicBezTo>
                  <a:pt x="6267629" y="1560487"/>
                  <a:pt x="6244705" y="1552594"/>
                  <a:pt x="6226990" y="1521018"/>
                </a:cubicBezTo>
                <a:cubicBezTo>
                  <a:pt x="6217612" y="1515756"/>
                  <a:pt x="6211360" y="1507862"/>
                  <a:pt x="6201981" y="1515756"/>
                </a:cubicBezTo>
                <a:cubicBezTo>
                  <a:pt x="6181141" y="1521018"/>
                  <a:pt x="6153006" y="1518387"/>
                  <a:pt x="6135292" y="1547330"/>
                </a:cubicBezTo>
                <a:cubicBezTo>
                  <a:pt x="6120703" y="1555224"/>
                  <a:pt x="6106115" y="1573643"/>
                  <a:pt x="6093610" y="1594693"/>
                </a:cubicBezTo>
                <a:cubicBezTo>
                  <a:pt x="6083190" y="1599956"/>
                  <a:pt x="6077980" y="1607850"/>
                  <a:pt x="6068602" y="1615743"/>
                </a:cubicBezTo>
                <a:cubicBezTo>
                  <a:pt x="6062350" y="1618375"/>
                  <a:pt x="6056097" y="1615743"/>
                  <a:pt x="6049845" y="1621006"/>
                </a:cubicBezTo>
                <a:cubicBezTo>
                  <a:pt x="6047761" y="1623637"/>
                  <a:pt x="6049845" y="1634162"/>
                  <a:pt x="6047761" y="1636794"/>
                </a:cubicBezTo>
                <a:cubicBezTo>
                  <a:pt x="6039425" y="1644687"/>
                  <a:pt x="6029005" y="1639425"/>
                  <a:pt x="6020668" y="1647319"/>
                </a:cubicBezTo>
                <a:cubicBezTo>
                  <a:pt x="6020668" y="1647319"/>
                  <a:pt x="6025879" y="1668368"/>
                  <a:pt x="6024837" y="1678893"/>
                </a:cubicBezTo>
                <a:cubicBezTo>
                  <a:pt x="6024836" y="1684156"/>
                  <a:pt x="6020668" y="1676262"/>
                  <a:pt x="6018584" y="1673631"/>
                </a:cubicBezTo>
                <a:cubicBezTo>
                  <a:pt x="6002954" y="1671000"/>
                  <a:pt x="5986281" y="1657844"/>
                  <a:pt x="5997744" y="1699944"/>
                </a:cubicBezTo>
                <a:cubicBezTo>
                  <a:pt x="6005038" y="1713100"/>
                  <a:pt x="6013374" y="1734149"/>
                  <a:pt x="6018585" y="1752568"/>
                </a:cubicBezTo>
                <a:cubicBezTo>
                  <a:pt x="6034215" y="1755199"/>
                  <a:pt x="6039425" y="1749937"/>
                  <a:pt x="6049845" y="1768356"/>
                </a:cubicBezTo>
                <a:cubicBezTo>
                  <a:pt x="6050627" y="1769672"/>
                  <a:pt x="6052320" y="1773618"/>
                  <a:pt x="6054518" y="1778634"/>
                </a:cubicBezTo>
                <a:lnTo>
                  <a:pt x="6055092" y="1779878"/>
                </a:lnTo>
                <a:lnTo>
                  <a:pt x="6054664" y="1779539"/>
                </a:lnTo>
                <a:cubicBezTo>
                  <a:pt x="6052710" y="1778224"/>
                  <a:pt x="6050887" y="1777566"/>
                  <a:pt x="6043593" y="1773618"/>
                </a:cubicBezTo>
                <a:cubicBezTo>
                  <a:pt x="6039425" y="1770987"/>
                  <a:pt x="6046719" y="1794669"/>
                  <a:pt x="6047761" y="1805194"/>
                </a:cubicBezTo>
                <a:lnTo>
                  <a:pt x="6051901" y="1818173"/>
                </a:lnTo>
                <a:lnTo>
                  <a:pt x="6041509" y="1805194"/>
                </a:lnTo>
                <a:cubicBezTo>
                  <a:pt x="6022753" y="1799931"/>
                  <a:pt x="6011290" y="1789406"/>
                  <a:pt x="5993575" y="1805194"/>
                </a:cubicBezTo>
                <a:cubicBezTo>
                  <a:pt x="5993575" y="1805194"/>
                  <a:pt x="5996702" y="1826244"/>
                  <a:pt x="5997744" y="1836769"/>
                </a:cubicBezTo>
                <a:cubicBezTo>
                  <a:pt x="5999828" y="1855188"/>
                  <a:pt x="6006080" y="1865713"/>
                  <a:pt x="6008164" y="1884132"/>
                </a:cubicBezTo>
                <a:cubicBezTo>
                  <a:pt x="6018585" y="1899919"/>
                  <a:pt x="6019626" y="1920969"/>
                  <a:pt x="6024837" y="1947282"/>
                </a:cubicBezTo>
                <a:cubicBezTo>
                  <a:pt x="6009206" y="1934126"/>
                  <a:pt x="6005038" y="1860450"/>
                  <a:pt x="5995660" y="1831506"/>
                </a:cubicBezTo>
                <a:cubicBezTo>
                  <a:pt x="5990450" y="1815719"/>
                  <a:pt x="5981071" y="1818350"/>
                  <a:pt x="5974819" y="1815719"/>
                </a:cubicBezTo>
                <a:cubicBezTo>
                  <a:pt x="5959189" y="1842032"/>
                  <a:pt x="5961273" y="1860450"/>
                  <a:pt x="5970651" y="1894656"/>
                </a:cubicBezTo>
                <a:cubicBezTo>
                  <a:pt x="5982113" y="1913075"/>
                  <a:pt x="5990450" y="1944650"/>
                  <a:pt x="5997744" y="1973595"/>
                </a:cubicBezTo>
                <a:cubicBezTo>
                  <a:pt x="6012332" y="1997275"/>
                  <a:pt x="6011290" y="2034113"/>
                  <a:pt x="6014416" y="2073581"/>
                </a:cubicBezTo>
                <a:cubicBezTo>
                  <a:pt x="5999828" y="2060425"/>
                  <a:pt x="5993575" y="2026220"/>
                  <a:pt x="5985240" y="1994644"/>
                </a:cubicBezTo>
                <a:cubicBezTo>
                  <a:pt x="5975861" y="1986750"/>
                  <a:pt x="5967525" y="1968332"/>
                  <a:pt x="5962315" y="1947282"/>
                </a:cubicBezTo>
                <a:cubicBezTo>
                  <a:pt x="5955020" y="1934126"/>
                  <a:pt x="5952937" y="1926231"/>
                  <a:pt x="5949810" y="1905181"/>
                </a:cubicBezTo>
                <a:cubicBezTo>
                  <a:pt x="5944600" y="1897288"/>
                  <a:pt x="5917507" y="1873607"/>
                  <a:pt x="5916465" y="1878869"/>
                </a:cubicBezTo>
                <a:cubicBezTo>
                  <a:pt x="5913340" y="1889394"/>
                  <a:pt x="5915423" y="1902550"/>
                  <a:pt x="5914381" y="1915707"/>
                </a:cubicBezTo>
                <a:cubicBezTo>
                  <a:pt x="5916466" y="1944651"/>
                  <a:pt x="5920634" y="1957806"/>
                  <a:pt x="5922718" y="1984119"/>
                </a:cubicBezTo>
                <a:cubicBezTo>
                  <a:pt x="5930012" y="2010431"/>
                  <a:pt x="5943559" y="2039375"/>
                  <a:pt x="5928970" y="2047269"/>
                </a:cubicBezTo>
                <a:cubicBezTo>
                  <a:pt x="5909171" y="2034113"/>
                  <a:pt x="5895625" y="1999907"/>
                  <a:pt x="5889373" y="1952544"/>
                </a:cubicBezTo>
                <a:cubicBezTo>
                  <a:pt x="5872701" y="1939388"/>
                  <a:pt x="5877911" y="2005169"/>
                  <a:pt x="5878953" y="2026219"/>
                </a:cubicBezTo>
                <a:cubicBezTo>
                  <a:pt x="5875826" y="2063057"/>
                  <a:pt x="5878953" y="2113051"/>
                  <a:pt x="5874784" y="2147257"/>
                </a:cubicBezTo>
                <a:cubicBezTo>
                  <a:pt x="5844566" y="2120944"/>
                  <a:pt x="5878952" y="2005169"/>
                  <a:pt x="5862280" y="1942019"/>
                </a:cubicBezTo>
                <a:cubicBezTo>
                  <a:pt x="5843524" y="1934125"/>
                  <a:pt x="5852902" y="1947281"/>
                  <a:pt x="5839355" y="1957807"/>
                </a:cubicBezTo>
                <a:cubicBezTo>
                  <a:pt x="5825809" y="1963069"/>
                  <a:pt x="5821641" y="1960438"/>
                  <a:pt x="5814347" y="1989382"/>
                </a:cubicBezTo>
                <a:cubicBezTo>
                  <a:pt x="5804448" y="1992012"/>
                  <a:pt x="5794809" y="1991355"/>
                  <a:pt x="5789338" y="1996289"/>
                </a:cubicBezTo>
                <a:cubicBezTo>
                  <a:pt x="5783867" y="2001222"/>
                  <a:pt x="5782565" y="2011748"/>
                  <a:pt x="5789338" y="2036744"/>
                </a:cubicBezTo>
                <a:cubicBezTo>
                  <a:pt x="5807053" y="2065688"/>
                  <a:pt x="5812263" y="2110419"/>
                  <a:pt x="5824767" y="2184094"/>
                </a:cubicBezTo>
                <a:cubicBezTo>
                  <a:pt x="5813305" y="2163044"/>
                  <a:pt x="5801842" y="2115682"/>
                  <a:pt x="5797674" y="2084107"/>
                </a:cubicBezTo>
                <a:cubicBezTo>
                  <a:pt x="5784128" y="2073582"/>
                  <a:pt x="5783086" y="2068320"/>
                  <a:pt x="5766413" y="2063057"/>
                </a:cubicBezTo>
                <a:cubicBezTo>
                  <a:pt x="5746615" y="2113051"/>
                  <a:pt x="5768498" y="2189357"/>
                  <a:pt x="5753909" y="2247245"/>
                </a:cubicBezTo>
                <a:cubicBezTo>
                  <a:pt x="5744531" y="2249876"/>
                  <a:pt x="5728900" y="2239351"/>
                  <a:pt x="5726816" y="2263033"/>
                </a:cubicBezTo>
                <a:cubicBezTo>
                  <a:pt x="5725774" y="2281451"/>
                  <a:pt x="5732026" y="2365651"/>
                  <a:pt x="5726816" y="2326183"/>
                </a:cubicBezTo>
                <a:cubicBezTo>
                  <a:pt x="5717438" y="2318289"/>
                  <a:pt x="5714312" y="2270927"/>
                  <a:pt x="5708060" y="2294607"/>
                </a:cubicBezTo>
                <a:cubicBezTo>
                  <a:pt x="5695556" y="2315657"/>
                  <a:pt x="5687219" y="2331445"/>
                  <a:pt x="5685135" y="2368283"/>
                </a:cubicBezTo>
                <a:cubicBezTo>
                  <a:pt x="5659084" y="2376177"/>
                  <a:pt x="5673673" y="2384070"/>
                  <a:pt x="5664295" y="2436695"/>
                </a:cubicBezTo>
                <a:cubicBezTo>
                  <a:pt x="5659084" y="2465639"/>
                  <a:pt x="5655959" y="2470901"/>
                  <a:pt x="5664295" y="2499845"/>
                </a:cubicBezTo>
                <a:cubicBezTo>
                  <a:pt x="5664295" y="2499845"/>
                  <a:pt x="5672631" y="2515633"/>
                  <a:pt x="5676799" y="2520896"/>
                </a:cubicBezTo>
                <a:cubicBezTo>
                  <a:pt x="5680967" y="2526158"/>
                  <a:pt x="5686177" y="2523527"/>
                  <a:pt x="5691387" y="2526158"/>
                </a:cubicBezTo>
                <a:cubicBezTo>
                  <a:pt x="5700765" y="2518265"/>
                  <a:pt x="5703892" y="2470902"/>
                  <a:pt x="5708060" y="2505108"/>
                </a:cubicBezTo>
                <a:cubicBezTo>
                  <a:pt x="5703892" y="2539314"/>
                  <a:pt x="5699724" y="2523527"/>
                  <a:pt x="5697639" y="2568258"/>
                </a:cubicBezTo>
                <a:cubicBezTo>
                  <a:pt x="5687219" y="2605096"/>
                  <a:pt x="5687219" y="2649827"/>
                  <a:pt x="5685135" y="2694558"/>
                </a:cubicBezTo>
                <a:lnTo>
                  <a:pt x="5685135" y="2673094"/>
                </a:lnTo>
                <a:lnTo>
                  <a:pt x="5685266" y="2671863"/>
                </a:lnTo>
                <a:cubicBezTo>
                  <a:pt x="5685396" y="2668904"/>
                  <a:pt x="5685135" y="2665615"/>
                  <a:pt x="5685135" y="2652458"/>
                </a:cubicBezTo>
                <a:lnTo>
                  <a:pt x="5685135" y="2673094"/>
                </a:lnTo>
                <a:lnTo>
                  <a:pt x="5684696" y="2677250"/>
                </a:lnTo>
                <a:cubicBezTo>
                  <a:pt x="5684354" y="2679757"/>
                  <a:pt x="5683833" y="2683376"/>
                  <a:pt x="5683051" y="2689296"/>
                </a:cubicBezTo>
                <a:cubicBezTo>
                  <a:pt x="5675757" y="2699821"/>
                  <a:pt x="5673673" y="2715609"/>
                  <a:pt x="5666379" y="2726134"/>
                </a:cubicBezTo>
                <a:lnTo>
                  <a:pt x="5657153" y="2726688"/>
                </a:lnTo>
                <a:lnTo>
                  <a:pt x="5662420" y="2699195"/>
                </a:lnTo>
                <a:cubicBezTo>
                  <a:pt x="5675674" y="2627230"/>
                  <a:pt x="5664361" y="2725187"/>
                  <a:pt x="5671483" y="2659893"/>
                </a:cubicBezTo>
                <a:cubicBezTo>
                  <a:pt x="5633239" y="2644617"/>
                  <a:pt x="5628010" y="2589413"/>
                  <a:pt x="5614281" y="2498622"/>
                </a:cubicBezTo>
                <a:cubicBezTo>
                  <a:pt x="5618387" y="2462705"/>
                  <a:pt x="5618574" y="2518041"/>
                  <a:pt x="5631111" y="2563288"/>
                </a:cubicBezTo>
                <a:cubicBezTo>
                  <a:pt x="5669286" y="2624141"/>
                  <a:pt x="5658589" y="2552803"/>
                  <a:pt x="5658641" y="2458396"/>
                </a:cubicBezTo>
                <a:cubicBezTo>
                  <a:pt x="5658641" y="2458396"/>
                  <a:pt x="5654178" y="2432470"/>
                  <a:pt x="5652577" y="2419491"/>
                </a:cubicBezTo>
                <a:cubicBezTo>
                  <a:pt x="5646513" y="2380585"/>
                  <a:pt x="5652237" y="2406478"/>
                  <a:pt x="5643822" y="2374144"/>
                </a:cubicBezTo>
                <a:cubicBezTo>
                  <a:pt x="5628354" y="2361528"/>
                  <a:pt x="5613721" y="2332612"/>
                  <a:pt x="5603961" y="2297058"/>
                </a:cubicBezTo>
                <a:cubicBezTo>
                  <a:pt x="5592104" y="2277837"/>
                  <a:pt x="5604540" y="2271000"/>
                  <a:pt x="5607471" y="2238370"/>
                </a:cubicBezTo>
                <a:cubicBezTo>
                  <a:pt x="5657725" y="2230544"/>
                  <a:pt x="5666310" y="2269384"/>
                  <a:pt x="5668628" y="2165152"/>
                </a:cubicBezTo>
                <a:cubicBezTo>
                  <a:pt x="5625172" y="2143501"/>
                  <a:pt x="5593470" y="2088990"/>
                  <a:pt x="5607543" y="1951896"/>
                </a:cubicBezTo>
                <a:cubicBezTo>
                  <a:pt x="5624766" y="1935168"/>
                  <a:pt x="5603303" y="1838069"/>
                  <a:pt x="5611191" y="1802053"/>
                </a:cubicBezTo>
                <a:cubicBezTo>
                  <a:pt x="5620850" y="1785524"/>
                  <a:pt x="5634648" y="1830737"/>
                  <a:pt x="5644307" y="1814208"/>
                </a:cubicBezTo>
                <a:cubicBezTo>
                  <a:pt x="5635892" y="1781874"/>
                  <a:pt x="5641242" y="1697095"/>
                  <a:pt x="5637700" y="1658123"/>
                </a:cubicBezTo>
                <a:cubicBezTo>
                  <a:pt x="5638774" y="1602753"/>
                  <a:pt x="5627002" y="1586785"/>
                  <a:pt x="5631943" y="1534570"/>
                </a:cubicBezTo>
                <a:cubicBezTo>
                  <a:pt x="5633034" y="1528030"/>
                  <a:pt x="5637241" y="1544197"/>
                  <a:pt x="5639847" y="1547385"/>
                </a:cubicBezTo>
                <a:cubicBezTo>
                  <a:pt x="5647496" y="1550439"/>
                  <a:pt x="5655060" y="1550242"/>
                  <a:pt x="5662709" y="1553297"/>
                </a:cubicBezTo>
                <a:cubicBezTo>
                  <a:pt x="5668756" y="1543372"/>
                  <a:pt x="5678825" y="1494279"/>
                  <a:pt x="5673442" y="1481398"/>
                </a:cubicBezTo>
                <a:cubicBezTo>
                  <a:pt x="5668059" y="1468517"/>
                  <a:pt x="5633188" y="1485707"/>
                  <a:pt x="5627720" y="1469573"/>
                </a:cubicBezTo>
                <a:cubicBezTo>
                  <a:pt x="5615863" y="1450351"/>
                  <a:pt x="5619390" y="1440493"/>
                  <a:pt x="5629049" y="1423963"/>
                </a:cubicBezTo>
                <a:cubicBezTo>
                  <a:pt x="5647873" y="1420215"/>
                  <a:pt x="5679064" y="1455208"/>
                  <a:pt x="5684175" y="1409499"/>
                </a:cubicBezTo>
                <a:cubicBezTo>
                  <a:pt x="5685683" y="1394810"/>
                  <a:pt x="5689069" y="1343450"/>
                  <a:pt x="5689605" y="1318715"/>
                </a:cubicBezTo>
                <a:lnTo>
                  <a:pt x="5689606" y="1317781"/>
                </a:lnTo>
                <a:lnTo>
                  <a:pt x="5700073" y="1314162"/>
                </a:lnTo>
                <a:cubicBezTo>
                  <a:pt x="5711820" y="1305214"/>
                  <a:pt x="5719293" y="1281214"/>
                  <a:pt x="5719748" y="1226267"/>
                </a:cubicBezTo>
                <a:cubicBezTo>
                  <a:pt x="5745965" y="1215815"/>
                  <a:pt x="5728640" y="1180460"/>
                  <a:pt x="5737193" y="1121639"/>
                </a:cubicBezTo>
                <a:cubicBezTo>
                  <a:pt x="5741384" y="1088975"/>
                  <a:pt x="5753564" y="1072380"/>
                  <a:pt x="5763224" y="1055851"/>
                </a:cubicBezTo>
                <a:cubicBezTo>
                  <a:pt x="5753548" y="1023550"/>
                  <a:pt x="5756394" y="987666"/>
                  <a:pt x="5750415" y="952013"/>
                </a:cubicBezTo>
                <a:cubicBezTo>
                  <a:pt x="5750415" y="952013"/>
                  <a:pt x="5740160" y="945771"/>
                  <a:pt x="5734947" y="939397"/>
                </a:cubicBezTo>
                <a:cubicBezTo>
                  <a:pt x="5711234" y="900953"/>
                  <a:pt x="5725442" y="913602"/>
                  <a:pt x="5693756" y="907921"/>
                </a:cubicBezTo>
                <a:cubicBezTo>
                  <a:pt x="5678970" y="921329"/>
                  <a:pt x="5674778" y="953993"/>
                  <a:pt x="5659991" y="967401"/>
                </a:cubicBezTo>
                <a:cubicBezTo>
                  <a:pt x="5656755" y="964231"/>
                  <a:pt x="5649967" y="957897"/>
                  <a:pt x="5643493" y="951556"/>
                </a:cubicBezTo>
                <a:lnTo>
                  <a:pt x="5639547" y="947262"/>
                </a:lnTo>
                <a:lnTo>
                  <a:pt x="5636279" y="928957"/>
                </a:lnTo>
                <a:cubicBezTo>
                  <a:pt x="5632072" y="912791"/>
                  <a:pt x="5626352" y="899105"/>
                  <a:pt x="5622041" y="884975"/>
                </a:cubicBezTo>
                <a:lnTo>
                  <a:pt x="5621618" y="881574"/>
                </a:lnTo>
                <a:lnTo>
                  <a:pt x="5620399" y="862179"/>
                </a:lnTo>
                <a:cubicBezTo>
                  <a:pt x="5619550" y="853097"/>
                  <a:pt x="5618308" y="844788"/>
                  <a:pt x="5616247" y="838331"/>
                </a:cubicBezTo>
                <a:lnTo>
                  <a:pt x="5621618" y="881574"/>
                </a:lnTo>
                <a:lnTo>
                  <a:pt x="5622189" y="890668"/>
                </a:lnTo>
                <a:cubicBezTo>
                  <a:pt x="5623162" y="909769"/>
                  <a:pt x="5624261" y="927644"/>
                  <a:pt x="5628886" y="935662"/>
                </a:cubicBezTo>
                <a:lnTo>
                  <a:pt x="5639547" y="947262"/>
                </a:lnTo>
                <a:lnTo>
                  <a:pt x="5641268" y="956905"/>
                </a:lnTo>
                <a:cubicBezTo>
                  <a:pt x="5641376" y="967074"/>
                  <a:pt x="5641338" y="977656"/>
                  <a:pt x="5645375" y="987316"/>
                </a:cubicBezTo>
                <a:cubicBezTo>
                  <a:pt x="5647981" y="990503"/>
                  <a:pt x="5651763" y="990404"/>
                  <a:pt x="5653109" y="993625"/>
                </a:cubicBezTo>
                <a:cubicBezTo>
                  <a:pt x="5654455" y="996844"/>
                  <a:pt x="5653534" y="1009891"/>
                  <a:pt x="5656141" y="1013077"/>
                </a:cubicBezTo>
                <a:cubicBezTo>
                  <a:pt x="5658832" y="1019518"/>
                  <a:pt x="5664385" y="1038905"/>
                  <a:pt x="5662035" y="1045477"/>
                </a:cubicBezTo>
                <a:cubicBezTo>
                  <a:pt x="5658508" y="1055336"/>
                  <a:pt x="5656396" y="1022837"/>
                  <a:pt x="5651439" y="1026222"/>
                </a:cubicBezTo>
                <a:cubicBezTo>
                  <a:pt x="5634370" y="1000626"/>
                  <a:pt x="5645323" y="1081723"/>
                  <a:pt x="5631439" y="1033256"/>
                </a:cubicBezTo>
                <a:cubicBezTo>
                  <a:pt x="5631439" y="1033256"/>
                  <a:pt x="5614865" y="978349"/>
                  <a:pt x="5609907" y="981734"/>
                </a:cubicBezTo>
                <a:cubicBezTo>
                  <a:pt x="5604950" y="985119"/>
                  <a:pt x="5608067" y="1007825"/>
                  <a:pt x="5605887" y="1020903"/>
                </a:cubicBezTo>
                <a:cubicBezTo>
                  <a:pt x="5601696" y="1053566"/>
                  <a:pt x="5597419" y="1082977"/>
                  <a:pt x="5593313" y="1118894"/>
                </a:cubicBezTo>
                <a:cubicBezTo>
                  <a:pt x="5593313" y="1118894"/>
                  <a:pt x="5582308" y="1132203"/>
                  <a:pt x="5578867" y="1145314"/>
                </a:cubicBezTo>
                <a:cubicBezTo>
                  <a:pt x="5569804" y="1184616"/>
                  <a:pt x="5566873" y="1217246"/>
                  <a:pt x="5561762" y="1262955"/>
                </a:cubicBezTo>
                <a:cubicBezTo>
                  <a:pt x="5566310" y="1292135"/>
                  <a:pt x="5561438" y="1298772"/>
                  <a:pt x="5553210" y="1321775"/>
                </a:cubicBezTo>
                <a:cubicBezTo>
                  <a:pt x="5537077" y="1331964"/>
                  <a:pt x="5539002" y="1309126"/>
                  <a:pt x="5541933" y="1276495"/>
                </a:cubicBezTo>
                <a:cubicBezTo>
                  <a:pt x="5557554" y="1246789"/>
                  <a:pt x="5547538" y="1201475"/>
                  <a:pt x="5556517" y="1158920"/>
                </a:cubicBezTo>
                <a:cubicBezTo>
                  <a:pt x="5556517" y="1158920"/>
                  <a:pt x="5582138" y="1125697"/>
                  <a:pt x="5582547" y="1093132"/>
                </a:cubicBezTo>
                <a:cubicBezTo>
                  <a:pt x="5583877" y="1047522"/>
                  <a:pt x="5600966" y="881051"/>
                  <a:pt x="5566163" y="852664"/>
                </a:cubicBezTo>
                <a:cubicBezTo>
                  <a:pt x="5566163" y="852664"/>
                  <a:pt x="5555158" y="865973"/>
                  <a:pt x="5551717" y="879085"/>
                </a:cubicBezTo>
                <a:cubicBezTo>
                  <a:pt x="5543488" y="902087"/>
                  <a:pt x="5546026" y="950851"/>
                  <a:pt x="5534271" y="983713"/>
                </a:cubicBezTo>
                <a:cubicBezTo>
                  <a:pt x="5525532" y="987197"/>
                  <a:pt x="5516452" y="977669"/>
                  <a:pt x="5509229" y="990879"/>
                </a:cubicBezTo>
                <a:cubicBezTo>
                  <a:pt x="5505617" y="997484"/>
                  <a:pt x="5487560" y="1030510"/>
                  <a:pt x="5487560" y="1030510"/>
                </a:cubicBezTo>
                <a:cubicBezTo>
                  <a:pt x="5481257" y="1030675"/>
                  <a:pt x="5485448" y="998012"/>
                  <a:pt x="5488889" y="984900"/>
                </a:cubicBezTo>
                <a:cubicBezTo>
                  <a:pt x="5506947" y="951874"/>
                  <a:pt x="5524936" y="964425"/>
                  <a:pt x="5511207" y="873634"/>
                </a:cubicBezTo>
                <a:cubicBezTo>
                  <a:pt x="5487170" y="871007"/>
                  <a:pt x="5477580" y="841960"/>
                  <a:pt x="5455399" y="862073"/>
                </a:cubicBezTo>
                <a:cubicBezTo>
                  <a:pt x="5425315" y="869371"/>
                  <a:pt x="5402130" y="899276"/>
                  <a:pt x="5382147" y="955140"/>
                </a:cubicBezTo>
                <a:cubicBezTo>
                  <a:pt x="5372317" y="965164"/>
                  <a:pt x="5369131" y="988034"/>
                  <a:pt x="5364498" y="955601"/>
                </a:cubicBezTo>
                <a:cubicBezTo>
                  <a:pt x="5384327" y="942062"/>
                  <a:pt x="5373051" y="896781"/>
                  <a:pt x="5382114" y="857480"/>
                </a:cubicBezTo>
                <a:cubicBezTo>
                  <a:pt x="5382114" y="857480"/>
                  <a:pt x="5396986" y="847324"/>
                  <a:pt x="5404294" y="837367"/>
                </a:cubicBezTo>
                <a:cubicBezTo>
                  <a:pt x="5406730" y="834048"/>
                  <a:pt x="5409081" y="827476"/>
                  <a:pt x="5411517" y="824156"/>
                </a:cubicBezTo>
                <a:cubicBezTo>
                  <a:pt x="5416390" y="817518"/>
                  <a:pt x="5421347" y="814134"/>
                  <a:pt x="5426304" y="810748"/>
                </a:cubicBezTo>
                <a:cubicBezTo>
                  <a:pt x="5474037" y="802989"/>
                  <a:pt x="5468995" y="803120"/>
                  <a:pt x="5502111" y="815275"/>
                </a:cubicBezTo>
                <a:cubicBezTo>
                  <a:pt x="5502111" y="815275"/>
                  <a:pt x="5510424" y="795525"/>
                  <a:pt x="5516557" y="788854"/>
                </a:cubicBezTo>
                <a:cubicBezTo>
                  <a:pt x="5521515" y="785469"/>
                  <a:pt x="5526386" y="778831"/>
                  <a:pt x="5531344" y="775446"/>
                </a:cubicBezTo>
                <a:cubicBezTo>
                  <a:pt x="5571343" y="761377"/>
                  <a:pt x="5538822" y="771995"/>
                  <a:pt x="5555024" y="716230"/>
                </a:cubicBezTo>
                <a:cubicBezTo>
                  <a:pt x="5557375" y="709657"/>
                  <a:pt x="5563933" y="719251"/>
                  <a:pt x="5564938" y="709459"/>
                </a:cubicBezTo>
                <a:cubicBezTo>
                  <a:pt x="5567869" y="676829"/>
                  <a:pt x="5564496" y="644363"/>
                  <a:pt x="5564906" y="611799"/>
                </a:cubicBezTo>
                <a:cubicBezTo>
                  <a:pt x="5555741" y="599017"/>
                  <a:pt x="5549012" y="582916"/>
                  <a:pt x="5538672" y="573421"/>
                </a:cubicBezTo>
                <a:cubicBezTo>
                  <a:pt x="5520614" y="606447"/>
                  <a:pt x="5542539" y="576575"/>
                  <a:pt x="5528077" y="554166"/>
                </a:cubicBezTo>
                <a:cubicBezTo>
                  <a:pt x="5522779" y="544538"/>
                  <a:pt x="5514125" y="551276"/>
                  <a:pt x="5507737" y="548187"/>
                </a:cubicBezTo>
                <a:cubicBezTo>
                  <a:pt x="5502779" y="551572"/>
                  <a:pt x="5495981" y="581049"/>
                  <a:pt x="5493120" y="568103"/>
                </a:cubicBezTo>
                <a:cubicBezTo>
                  <a:pt x="5490343" y="558409"/>
                  <a:pt x="5495045" y="545264"/>
                  <a:pt x="5494790" y="535505"/>
                </a:cubicBezTo>
                <a:cubicBezTo>
                  <a:pt x="5495454" y="512700"/>
                  <a:pt x="5494773" y="486675"/>
                  <a:pt x="5495438" y="463870"/>
                </a:cubicBezTo>
                <a:cubicBezTo>
                  <a:pt x="5471316" y="457990"/>
                  <a:pt x="5470141" y="461276"/>
                  <a:pt x="5450226" y="471564"/>
                </a:cubicBezTo>
                <a:cubicBezTo>
                  <a:pt x="5450226" y="471564"/>
                  <a:pt x="5391983" y="463322"/>
                  <a:pt x="5385866" y="518823"/>
                </a:cubicBezTo>
                <a:cubicBezTo>
                  <a:pt x="5335783" y="533155"/>
                  <a:pt x="5354351" y="519648"/>
                  <a:pt x="5343379" y="630617"/>
                </a:cubicBezTo>
                <a:cubicBezTo>
                  <a:pt x="5321621" y="594564"/>
                  <a:pt x="5339716" y="562961"/>
                  <a:pt x="5331862" y="543024"/>
                </a:cubicBezTo>
                <a:lnTo>
                  <a:pt x="5313796" y="527970"/>
                </a:lnTo>
                <a:lnTo>
                  <a:pt x="5317623" y="514098"/>
                </a:lnTo>
                <a:cubicBezTo>
                  <a:pt x="5339804" y="493986"/>
                  <a:pt x="5357691" y="454453"/>
                  <a:pt x="5381302" y="440814"/>
                </a:cubicBezTo>
                <a:cubicBezTo>
                  <a:pt x="5396344" y="437165"/>
                  <a:pt x="5426769" y="442879"/>
                  <a:pt x="5446513" y="426086"/>
                </a:cubicBezTo>
                <a:cubicBezTo>
                  <a:pt x="5453907" y="419381"/>
                  <a:pt x="5483651" y="399070"/>
                  <a:pt x="5477757" y="366672"/>
                </a:cubicBezTo>
                <a:cubicBezTo>
                  <a:pt x="5474895" y="353724"/>
                  <a:pt x="5468422" y="347383"/>
                  <a:pt x="5464300" y="334470"/>
                </a:cubicBezTo>
                <a:cubicBezTo>
                  <a:pt x="5441933" y="299246"/>
                  <a:pt x="5413944" y="290212"/>
                  <a:pt x="5391492" y="251735"/>
                </a:cubicBezTo>
                <a:cubicBezTo>
                  <a:pt x="5379976" y="245526"/>
                  <a:pt x="5372157" y="235965"/>
                  <a:pt x="5361067" y="246020"/>
                </a:cubicBezTo>
                <a:cubicBezTo>
                  <a:pt x="5336025" y="253187"/>
                  <a:pt x="5301904" y="250825"/>
                  <a:pt x="5281410" y="287170"/>
                </a:cubicBezTo>
                <a:cubicBezTo>
                  <a:pt x="5264017" y="297391"/>
                  <a:pt x="5246964" y="320625"/>
                  <a:pt x="5232518" y="347046"/>
                </a:cubicBezTo>
                <a:cubicBezTo>
                  <a:pt x="5220082" y="353882"/>
                  <a:pt x="5214034" y="363806"/>
                  <a:pt x="5202944" y="373863"/>
                </a:cubicBezTo>
                <a:cubicBezTo>
                  <a:pt x="5195466" y="377314"/>
                  <a:pt x="5187817" y="374259"/>
                  <a:pt x="5180424" y="380962"/>
                </a:cubicBezTo>
                <a:cubicBezTo>
                  <a:pt x="5177987" y="384282"/>
                  <a:pt x="5180849" y="397228"/>
                  <a:pt x="5178413" y="400547"/>
                </a:cubicBezTo>
                <a:cubicBezTo>
                  <a:pt x="5168583" y="410571"/>
                  <a:pt x="5155807" y="404395"/>
                  <a:pt x="5145978" y="414418"/>
                </a:cubicBezTo>
                <a:cubicBezTo>
                  <a:pt x="5145978" y="414418"/>
                  <a:pt x="5152962" y="440279"/>
                  <a:pt x="5152042" y="453324"/>
                </a:cubicBezTo>
                <a:cubicBezTo>
                  <a:pt x="5152212" y="459830"/>
                  <a:pt x="5146914" y="450202"/>
                  <a:pt x="5144308" y="447015"/>
                </a:cubicBezTo>
                <a:cubicBezTo>
                  <a:pt x="5125314" y="444257"/>
                  <a:pt x="5104718" y="428519"/>
                  <a:pt x="5119947" y="480206"/>
                </a:cubicBezTo>
                <a:cubicBezTo>
                  <a:pt x="5129197" y="496241"/>
                  <a:pt x="5139963" y="522003"/>
                  <a:pt x="5146862" y="544609"/>
                </a:cubicBezTo>
                <a:cubicBezTo>
                  <a:pt x="5165856" y="547368"/>
                  <a:pt x="5171989" y="540697"/>
                  <a:pt x="5185191" y="563139"/>
                </a:cubicBezTo>
                <a:cubicBezTo>
                  <a:pt x="5186179" y="564741"/>
                  <a:pt x="5188355" y="569567"/>
                  <a:pt x="5191176" y="575699"/>
                </a:cubicBezTo>
                <a:lnTo>
                  <a:pt x="5191911" y="577218"/>
                </a:lnTo>
                <a:lnTo>
                  <a:pt x="5191383" y="576813"/>
                </a:lnTo>
                <a:cubicBezTo>
                  <a:pt x="5188977" y="575247"/>
                  <a:pt x="5186749" y="574492"/>
                  <a:pt x="5177797" y="569843"/>
                </a:cubicBezTo>
                <a:cubicBezTo>
                  <a:pt x="5172670" y="566722"/>
                  <a:pt x="5182260" y="595769"/>
                  <a:pt x="5183861" y="608749"/>
                </a:cubicBezTo>
                <a:lnTo>
                  <a:pt x="5189290" y="624665"/>
                </a:lnTo>
                <a:lnTo>
                  <a:pt x="5176298" y="608946"/>
                </a:lnTo>
                <a:cubicBezTo>
                  <a:pt x="5153437" y="603034"/>
                  <a:pt x="5139229" y="590385"/>
                  <a:pt x="5118310" y="610464"/>
                </a:cubicBezTo>
                <a:cubicBezTo>
                  <a:pt x="5118310" y="610464"/>
                  <a:pt x="5122773" y="636390"/>
                  <a:pt x="5124374" y="649370"/>
                </a:cubicBezTo>
                <a:cubicBezTo>
                  <a:pt x="5127491" y="672076"/>
                  <a:pt x="5135395" y="684891"/>
                  <a:pt x="5138512" y="707596"/>
                </a:cubicBezTo>
                <a:cubicBezTo>
                  <a:pt x="5151629" y="726786"/>
                  <a:pt x="5153571" y="752778"/>
                  <a:pt x="5160725" y="785144"/>
                </a:cubicBezTo>
                <a:cubicBezTo>
                  <a:pt x="5141390" y="769374"/>
                  <a:pt x="5133964" y="678417"/>
                  <a:pt x="5121682" y="642930"/>
                </a:cubicBezTo>
                <a:cubicBezTo>
                  <a:pt x="5114868" y="623575"/>
                  <a:pt x="5103608" y="627125"/>
                  <a:pt x="5095959" y="624071"/>
                </a:cubicBezTo>
                <a:cubicBezTo>
                  <a:pt x="5077901" y="657096"/>
                  <a:pt x="5081018" y="679803"/>
                  <a:pt x="5093471" y="721797"/>
                </a:cubicBezTo>
                <a:cubicBezTo>
                  <a:pt x="5107933" y="744206"/>
                  <a:pt x="5119040" y="782979"/>
                  <a:pt x="5128800" y="818533"/>
                </a:cubicBezTo>
                <a:cubicBezTo>
                  <a:pt x="5147215" y="847350"/>
                  <a:pt x="5147146" y="892927"/>
                  <a:pt x="5152205" y="941625"/>
                </a:cubicBezTo>
                <a:cubicBezTo>
                  <a:pt x="5134131" y="925821"/>
                  <a:pt x="5125461" y="883728"/>
                  <a:pt x="5114354" y="844955"/>
                </a:cubicBezTo>
                <a:cubicBezTo>
                  <a:pt x="5102753" y="835492"/>
                  <a:pt x="5092073" y="812983"/>
                  <a:pt x="5085088" y="787123"/>
                </a:cubicBezTo>
                <a:cubicBezTo>
                  <a:pt x="5075839" y="771088"/>
                  <a:pt x="5073062" y="761395"/>
                  <a:pt x="5068599" y="735469"/>
                </a:cubicBezTo>
                <a:cubicBezTo>
                  <a:pt x="5062040" y="725875"/>
                  <a:pt x="5028499" y="697454"/>
                  <a:pt x="5027408" y="703993"/>
                </a:cubicBezTo>
                <a:cubicBezTo>
                  <a:pt x="5023967" y="717105"/>
                  <a:pt x="5026914" y="733304"/>
                  <a:pt x="5026079" y="749603"/>
                </a:cubicBezTo>
                <a:cubicBezTo>
                  <a:pt x="5029536" y="785322"/>
                  <a:pt x="5035004" y="801456"/>
                  <a:pt x="5038377" y="833921"/>
                </a:cubicBezTo>
                <a:cubicBezTo>
                  <a:pt x="5048053" y="866221"/>
                  <a:pt x="5065377" y="901578"/>
                  <a:pt x="5047984" y="911798"/>
                </a:cubicBezTo>
                <a:cubicBezTo>
                  <a:pt x="5023607" y="896159"/>
                  <a:pt x="5006112" y="854297"/>
                  <a:pt x="4997016" y="795939"/>
                </a:cubicBezTo>
                <a:cubicBezTo>
                  <a:pt x="4976420" y="780201"/>
                  <a:pt x="4984852" y="861364"/>
                  <a:pt x="4986793" y="887357"/>
                </a:cubicBezTo>
                <a:cubicBezTo>
                  <a:pt x="4984203" y="933000"/>
                  <a:pt x="4989603" y="994710"/>
                  <a:pt x="4985667" y="1037134"/>
                </a:cubicBezTo>
                <a:cubicBezTo>
                  <a:pt x="4948258" y="1005559"/>
                  <a:pt x="4986113" y="861331"/>
                  <a:pt x="4963900" y="783784"/>
                </a:cubicBezTo>
                <a:cubicBezTo>
                  <a:pt x="4940953" y="774618"/>
                  <a:pt x="4952724" y="790587"/>
                  <a:pt x="4936677" y="804028"/>
                </a:cubicBezTo>
                <a:cubicBezTo>
                  <a:pt x="4920460" y="810963"/>
                  <a:pt x="4915332" y="807843"/>
                  <a:pt x="4907444" y="843858"/>
                </a:cubicBezTo>
                <a:cubicBezTo>
                  <a:pt x="4895553" y="847425"/>
                  <a:pt x="4883871" y="846916"/>
                  <a:pt x="4877413" y="853189"/>
                </a:cubicBezTo>
                <a:close/>
                <a:moveTo>
                  <a:pt x="0" y="11048479"/>
                </a:moveTo>
                <a:lnTo>
                  <a:pt x="5240380" y="0"/>
                </a:lnTo>
                <a:lnTo>
                  <a:pt x="9579745" y="2058195"/>
                </a:lnTo>
                <a:lnTo>
                  <a:pt x="9564183" y="2059547"/>
                </a:lnTo>
                <a:cubicBezTo>
                  <a:pt x="9500107" y="2067183"/>
                  <a:pt x="9413604" y="2063366"/>
                  <a:pt x="9359139" y="2105365"/>
                </a:cubicBezTo>
                <a:cubicBezTo>
                  <a:pt x="9314286" y="2116819"/>
                  <a:pt x="9269433" y="2143546"/>
                  <a:pt x="9230987" y="2174091"/>
                </a:cubicBezTo>
                <a:cubicBezTo>
                  <a:pt x="9198949" y="2181728"/>
                  <a:pt x="9182930" y="2193182"/>
                  <a:pt x="9154096" y="2204636"/>
                </a:cubicBezTo>
                <a:cubicBezTo>
                  <a:pt x="9134873" y="2208455"/>
                  <a:pt x="9115650" y="2204637"/>
                  <a:pt x="9096428" y="2212273"/>
                </a:cubicBezTo>
                <a:cubicBezTo>
                  <a:pt x="9090020" y="2216091"/>
                  <a:pt x="9096428" y="2231363"/>
                  <a:pt x="9090020" y="2235182"/>
                </a:cubicBezTo>
                <a:cubicBezTo>
                  <a:pt x="9064390" y="2246636"/>
                  <a:pt x="9032352" y="2238999"/>
                  <a:pt x="9006721" y="2250454"/>
                </a:cubicBezTo>
                <a:cubicBezTo>
                  <a:pt x="9006721" y="2250454"/>
                  <a:pt x="9022740" y="2280999"/>
                  <a:pt x="9019537" y="2296271"/>
                </a:cubicBezTo>
                <a:cubicBezTo>
                  <a:pt x="9019536" y="2303908"/>
                  <a:pt x="9006721" y="2292453"/>
                  <a:pt x="9000314" y="2288634"/>
                </a:cubicBezTo>
                <a:cubicBezTo>
                  <a:pt x="8952257" y="2284817"/>
                  <a:pt x="8900996" y="2265726"/>
                  <a:pt x="8936237" y="2326817"/>
                </a:cubicBezTo>
                <a:cubicBezTo>
                  <a:pt x="8958665" y="2345907"/>
                  <a:pt x="8984295" y="2376452"/>
                  <a:pt x="9000314" y="2403179"/>
                </a:cubicBezTo>
                <a:cubicBezTo>
                  <a:pt x="9048370" y="2406997"/>
                  <a:pt x="9064390" y="2399361"/>
                  <a:pt x="9096428" y="2426087"/>
                </a:cubicBezTo>
                <a:cubicBezTo>
                  <a:pt x="9098831" y="2427996"/>
                  <a:pt x="9104037" y="2433724"/>
                  <a:pt x="9110795" y="2441002"/>
                </a:cubicBezTo>
                <a:lnTo>
                  <a:pt x="9112559" y="2442806"/>
                </a:lnTo>
                <a:lnTo>
                  <a:pt x="9111246" y="2442314"/>
                </a:lnTo>
                <a:cubicBezTo>
                  <a:pt x="9105238" y="2440406"/>
                  <a:pt x="9099631" y="2439452"/>
                  <a:pt x="9077204" y="2433724"/>
                </a:cubicBezTo>
                <a:cubicBezTo>
                  <a:pt x="9064390" y="2429906"/>
                  <a:pt x="9086816" y="2464269"/>
                  <a:pt x="9090020" y="2479542"/>
                </a:cubicBezTo>
                <a:lnTo>
                  <a:pt x="9102149" y="2497488"/>
                </a:lnTo>
                <a:lnTo>
                  <a:pt x="9089269" y="2488729"/>
                </a:lnTo>
                <a:cubicBezTo>
                  <a:pt x="9082812" y="2484791"/>
                  <a:pt x="9076404" y="2481451"/>
                  <a:pt x="9070797" y="2479542"/>
                </a:cubicBezTo>
                <a:cubicBezTo>
                  <a:pt x="9013129" y="2471905"/>
                  <a:pt x="8977887" y="2456632"/>
                  <a:pt x="8923422" y="2479542"/>
                </a:cubicBezTo>
                <a:cubicBezTo>
                  <a:pt x="8923422" y="2479542"/>
                  <a:pt x="8933033" y="2510087"/>
                  <a:pt x="8936238" y="2525359"/>
                </a:cubicBezTo>
                <a:cubicBezTo>
                  <a:pt x="8942645" y="2552086"/>
                  <a:pt x="8961868" y="2567358"/>
                  <a:pt x="8968276" y="2594085"/>
                </a:cubicBezTo>
                <a:cubicBezTo>
                  <a:pt x="9000313" y="2616994"/>
                  <a:pt x="9003518" y="2647539"/>
                  <a:pt x="9019537" y="2685720"/>
                </a:cubicBezTo>
                <a:cubicBezTo>
                  <a:pt x="8971479" y="2666630"/>
                  <a:pt x="8958664" y="2559722"/>
                  <a:pt x="8929830" y="2517722"/>
                </a:cubicBezTo>
                <a:cubicBezTo>
                  <a:pt x="8913811" y="2494813"/>
                  <a:pt x="8884977" y="2498632"/>
                  <a:pt x="8865754" y="2494814"/>
                </a:cubicBezTo>
                <a:cubicBezTo>
                  <a:pt x="8817697" y="2532995"/>
                  <a:pt x="8824104" y="2559722"/>
                  <a:pt x="8852938" y="2609358"/>
                </a:cubicBezTo>
                <a:cubicBezTo>
                  <a:pt x="8888181" y="2636084"/>
                  <a:pt x="8913811" y="2681902"/>
                  <a:pt x="8936237" y="2723902"/>
                </a:cubicBezTo>
                <a:cubicBezTo>
                  <a:pt x="8981091" y="2758265"/>
                  <a:pt x="8977887" y="2811718"/>
                  <a:pt x="8987498" y="2868990"/>
                </a:cubicBezTo>
                <a:cubicBezTo>
                  <a:pt x="8942645" y="2849900"/>
                  <a:pt x="8923422" y="2800264"/>
                  <a:pt x="8897792" y="2754447"/>
                </a:cubicBezTo>
                <a:cubicBezTo>
                  <a:pt x="8868958" y="2742992"/>
                  <a:pt x="8843327" y="2716266"/>
                  <a:pt x="8827308" y="2685721"/>
                </a:cubicBezTo>
                <a:cubicBezTo>
                  <a:pt x="8804882" y="2666630"/>
                  <a:pt x="8798474" y="2655175"/>
                  <a:pt x="8788863" y="2624630"/>
                </a:cubicBezTo>
                <a:cubicBezTo>
                  <a:pt x="8772844" y="2613176"/>
                  <a:pt x="8689545" y="2578813"/>
                  <a:pt x="8686341" y="2586449"/>
                </a:cubicBezTo>
                <a:cubicBezTo>
                  <a:pt x="8676729" y="2601721"/>
                  <a:pt x="8683137" y="2620812"/>
                  <a:pt x="8679934" y="2639902"/>
                </a:cubicBezTo>
                <a:cubicBezTo>
                  <a:pt x="8686341" y="2681902"/>
                  <a:pt x="8699156" y="2700993"/>
                  <a:pt x="8705564" y="2739174"/>
                </a:cubicBezTo>
                <a:cubicBezTo>
                  <a:pt x="8727990" y="2777355"/>
                  <a:pt x="8769640" y="2819354"/>
                  <a:pt x="8724787" y="2830809"/>
                </a:cubicBezTo>
                <a:cubicBezTo>
                  <a:pt x="8663915" y="2811718"/>
                  <a:pt x="8622265" y="2762082"/>
                  <a:pt x="8603042" y="2693356"/>
                </a:cubicBezTo>
                <a:cubicBezTo>
                  <a:pt x="8551782" y="2674265"/>
                  <a:pt x="8567801" y="2769719"/>
                  <a:pt x="8571004" y="2800264"/>
                </a:cubicBezTo>
                <a:cubicBezTo>
                  <a:pt x="8561393" y="2853718"/>
                  <a:pt x="8571004" y="2926262"/>
                  <a:pt x="8558189" y="2975898"/>
                </a:cubicBezTo>
                <a:cubicBezTo>
                  <a:pt x="8465279" y="2937717"/>
                  <a:pt x="8571004" y="2769719"/>
                  <a:pt x="8519743" y="2678084"/>
                </a:cubicBezTo>
                <a:cubicBezTo>
                  <a:pt x="8462075" y="2666629"/>
                  <a:pt x="8490909" y="2685720"/>
                  <a:pt x="8449260" y="2700993"/>
                </a:cubicBezTo>
                <a:cubicBezTo>
                  <a:pt x="8407610" y="2708629"/>
                  <a:pt x="8394795" y="2704810"/>
                  <a:pt x="8372369" y="2746810"/>
                </a:cubicBezTo>
                <a:cubicBezTo>
                  <a:pt x="8311496" y="2754447"/>
                  <a:pt x="8253828" y="2742992"/>
                  <a:pt x="8295477" y="2815536"/>
                </a:cubicBezTo>
                <a:cubicBezTo>
                  <a:pt x="8349942" y="2857536"/>
                  <a:pt x="8365961" y="2922444"/>
                  <a:pt x="8404407" y="3029351"/>
                </a:cubicBezTo>
                <a:cubicBezTo>
                  <a:pt x="8369165" y="2998806"/>
                  <a:pt x="8333923" y="2930080"/>
                  <a:pt x="8321108" y="2884263"/>
                </a:cubicBezTo>
                <a:cubicBezTo>
                  <a:pt x="8279458" y="2868990"/>
                  <a:pt x="8276254" y="2861354"/>
                  <a:pt x="8224994" y="2853717"/>
                </a:cubicBezTo>
                <a:cubicBezTo>
                  <a:pt x="8164121" y="2926262"/>
                  <a:pt x="8231401" y="3036988"/>
                  <a:pt x="8186548" y="3120987"/>
                </a:cubicBezTo>
                <a:cubicBezTo>
                  <a:pt x="8157714" y="3124805"/>
                  <a:pt x="8109657" y="3109532"/>
                  <a:pt x="8103249" y="3143895"/>
                </a:cubicBezTo>
                <a:cubicBezTo>
                  <a:pt x="8100045" y="3170622"/>
                  <a:pt x="8119268" y="3292802"/>
                  <a:pt x="8103249" y="3235530"/>
                </a:cubicBezTo>
                <a:cubicBezTo>
                  <a:pt x="8074415" y="3224076"/>
                  <a:pt x="8064803" y="3155350"/>
                  <a:pt x="8045580" y="3189713"/>
                </a:cubicBezTo>
                <a:cubicBezTo>
                  <a:pt x="8007135" y="3220258"/>
                  <a:pt x="7981504" y="3243167"/>
                  <a:pt x="7975097" y="3296620"/>
                </a:cubicBezTo>
                <a:cubicBezTo>
                  <a:pt x="7935050" y="3302348"/>
                  <a:pt x="7926239" y="3308075"/>
                  <a:pt x="7923836" y="3321915"/>
                </a:cubicBezTo>
                <a:cubicBezTo>
                  <a:pt x="7921434" y="3335756"/>
                  <a:pt x="7925438" y="3357710"/>
                  <a:pt x="7911021" y="3395891"/>
                </a:cubicBezTo>
                <a:cubicBezTo>
                  <a:pt x="7895002" y="3437891"/>
                  <a:pt x="7885390" y="3445527"/>
                  <a:pt x="7911021" y="3487526"/>
                </a:cubicBezTo>
                <a:cubicBezTo>
                  <a:pt x="7911021" y="3487526"/>
                  <a:pt x="7936652" y="3510436"/>
                  <a:pt x="7949467" y="3518072"/>
                </a:cubicBezTo>
                <a:cubicBezTo>
                  <a:pt x="7962282" y="3525708"/>
                  <a:pt x="7978301" y="3521890"/>
                  <a:pt x="7994320" y="3525708"/>
                </a:cubicBezTo>
                <a:cubicBezTo>
                  <a:pt x="8023154" y="3514253"/>
                  <a:pt x="8032765" y="3445527"/>
                  <a:pt x="8045581" y="3495163"/>
                </a:cubicBezTo>
                <a:cubicBezTo>
                  <a:pt x="8032766" y="3544798"/>
                  <a:pt x="8019950" y="3521890"/>
                  <a:pt x="8013542" y="3586798"/>
                </a:cubicBezTo>
                <a:cubicBezTo>
                  <a:pt x="7981505" y="3640252"/>
                  <a:pt x="7981505" y="3705160"/>
                  <a:pt x="7975097" y="3770068"/>
                </a:cubicBezTo>
                <a:lnTo>
                  <a:pt x="7975097" y="3738923"/>
                </a:lnTo>
                <a:lnTo>
                  <a:pt x="7975497" y="3737137"/>
                </a:lnTo>
                <a:cubicBezTo>
                  <a:pt x="7975898" y="3732841"/>
                  <a:pt x="7975097" y="3728069"/>
                  <a:pt x="7975097" y="3708978"/>
                </a:cubicBezTo>
                <a:lnTo>
                  <a:pt x="7975097" y="3738923"/>
                </a:lnTo>
                <a:lnTo>
                  <a:pt x="7973746" y="3744952"/>
                </a:lnTo>
                <a:cubicBezTo>
                  <a:pt x="7972694" y="3748591"/>
                  <a:pt x="7971092" y="3753841"/>
                  <a:pt x="7968689" y="3762432"/>
                </a:cubicBezTo>
                <a:cubicBezTo>
                  <a:pt x="7946263" y="3777705"/>
                  <a:pt x="7939855" y="3800613"/>
                  <a:pt x="7917429" y="3815886"/>
                </a:cubicBezTo>
                <a:cubicBezTo>
                  <a:pt x="7862964" y="3819703"/>
                  <a:pt x="7830926" y="3804431"/>
                  <a:pt x="7802092" y="3854067"/>
                </a:cubicBezTo>
                <a:cubicBezTo>
                  <a:pt x="7770054" y="3880794"/>
                  <a:pt x="7789277" y="3911339"/>
                  <a:pt x="7757239" y="3938066"/>
                </a:cubicBezTo>
                <a:cubicBezTo>
                  <a:pt x="7670736" y="3945702"/>
                  <a:pt x="7619475" y="3938066"/>
                  <a:pt x="7635494" y="4067882"/>
                </a:cubicBezTo>
                <a:cubicBezTo>
                  <a:pt x="7638698" y="4086973"/>
                  <a:pt x="7657920" y="4090791"/>
                  <a:pt x="7667532" y="4106064"/>
                </a:cubicBezTo>
                <a:cubicBezTo>
                  <a:pt x="7693162" y="4117518"/>
                  <a:pt x="7718793" y="4144244"/>
                  <a:pt x="7738016" y="4167153"/>
                </a:cubicBezTo>
                <a:cubicBezTo>
                  <a:pt x="7766850" y="4178608"/>
                  <a:pt x="7770054" y="4193881"/>
                  <a:pt x="7776462" y="4228243"/>
                </a:cubicBezTo>
                <a:cubicBezTo>
                  <a:pt x="7776462" y="4228243"/>
                  <a:pt x="7680347" y="4228243"/>
                  <a:pt x="7699570" y="4251152"/>
                </a:cubicBezTo>
                <a:cubicBezTo>
                  <a:pt x="7715589" y="4270242"/>
                  <a:pt x="7747627" y="4254971"/>
                  <a:pt x="7770054" y="4258788"/>
                </a:cubicBezTo>
                <a:cubicBezTo>
                  <a:pt x="7805295" y="4243516"/>
                  <a:pt x="7782869" y="4254970"/>
                  <a:pt x="7827722" y="4220607"/>
                </a:cubicBezTo>
                <a:cubicBezTo>
                  <a:pt x="7882187" y="4232061"/>
                  <a:pt x="7853352" y="4232062"/>
                  <a:pt x="7917429" y="4212970"/>
                </a:cubicBezTo>
                <a:cubicBezTo>
                  <a:pt x="7917429" y="4212970"/>
                  <a:pt x="7930244" y="4243515"/>
                  <a:pt x="7930244" y="4258788"/>
                </a:cubicBezTo>
                <a:cubicBezTo>
                  <a:pt x="7930244" y="4274060"/>
                  <a:pt x="7917429" y="4296970"/>
                  <a:pt x="7911021" y="4304605"/>
                </a:cubicBezTo>
                <a:cubicBezTo>
                  <a:pt x="7885391" y="4312242"/>
                  <a:pt x="7859760" y="4316060"/>
                  <a:pt x="7834130" y="4327514"/>
                </a:cubicBezTo>
                <a:cubicBezTo>
                  <a:pt x="7789276" y="4331333"/>
                  <a:pt x="7734812" y="4312242"/>
                  <a:pt x="7718793" y="4365696"/>
                </a:cubicBezTo>
                <a:cubicBezTo>
                  <a:pt x="7718793" y="4365696"/>
                  <a:pt x="7744423" y="4373332"/>
                  <a:pt x="7757239" y="4380968"/>
                </a:cubicBezTo>
                <a:cubicBezTo>
                  <a:pt x="7789277" y="4400059"/>
                  <a:pt x="7821315" y="4438240"/>
                  <a:pt x="7834130" y="4480240"/>
                </a:cubicBezTo>
                <a:cubicBezTo>
                  <a:pt x="7705978" y="4491694"/>
                  <a:pt x="7750831" y="4468786"/>
                  <a:pt x="7782869" y="4526057"/>
                </a:cubicBezTo>
                <a:cubicBezTo>
                  <a:pt x="7808499" y="4545148"/>
                  <a:pt x="7830926" y="4579511"/>
                  <a:pt x="7846945" y="4610056"/>
                </a:cubicBezTo>
                <a:cubicBezTo>
                  <a:pt x="7875779" y="4632965"/>
                  <a:pt x="7895002" y="4648237"/>
                  <a:pt x="7917429" y="4610056"/>
                </a:cubicBezTo>
                <a:cubicBezTo>
                  <a:pt x="7987912" y="4602420"/>
                  <a:pt x="8035969" y="4571875"/>
                  <a:pt x="8103249" y="4564239"/>
                </a:cubicBezTo>
                <a:cubicBezTo>
                  <a:pt x="8157714" y="4587147"/>
                  <a:pt x="8208975" y="4617692"/>
                  <a:pt x="8257032" y="4655873"/>
                </a:cubicBezTo>
                <a:cubicBezTo>
                  <a:pt x="8269847" y="4667328"/>
                  <a:pt x="8289070" y="4671146"/>
                  <a:pt x="8295477" y="4686418"/>
                </a:cubicBezTo>
                <a:cubicBezTo>
                  <a:pt x="8305088" y="4713146"/>
                  <a:pt x="8298681" y="4743691"/>
                  <a:pt x="8301885" y="4770417"/>
                </a:cubicBezTo>
                <a:cubicBezTo>
                  <a:pt x="8301885" y="4770417"/>
                  <a:pt x="8308293" y="4800962"/>
                  <a:pt x="8314700" y="4816235"/>
                </a:cubicBezTo>
                <a:cubicBezTo>
                  <a:pt x="8330719" y="4854416"/>
                  <a:pt x="8346738" y="4892597"/>
                  <a:pt x="8365961" y="4930778"/>
                </a:cubicBezTo>
                <a:cubicBezTo>
                  <a:pt x="8410814" y="5030050"/>
                  <a:pt x="8397999" y="5167503"/>
                  <a:pt x="8385184" y="5274410"/>
                </a:cubicBezTo>
                <a:cubicBezTo>
                  <a:pt x="8385184" y="5274410"/>
                  <a:pt x="8397999" y="5324046"/>
                  <a:pt x="8410814" y="5343137"/>
                </a:cubicBezTo>
                <a:cubicBezTo>
                  <a:pt x="8442852" y="5400408"/>
                  <a:pt x="8442852" y="5404226"/>
                  <a:pt x="8449260" y="5472952"/>
                </a:cubicBezTo>
                <a:cubicBezTo>
                  <a:pt x="8462075" y="5518771"/>
                  <a:pt x="8487706" y="5541679"/>
                  <a:pt x="8519743" y="5534043"/>
                </a:cubicBezTo>
                <a:cubicBezTo>
                  <a:pt x="8554985" y="5564587"/>
                  <a:pt x="8587023" y="5560770"/>
                  <a:pt x="8609450" y="5602769"/>
                </a:cubicBezTo>
                <a:cubicBezTo>
                  <a:pt x="8631876" y="5621859"/>
                  <a:pt x="8644692" y="5652404"/>
                  <a:pt x="8654303" y="5686768"/>
                </a:cubicBezTo>
                <a:cubicBezTo>
                  <a:pt x="8612653" y="5652404"/>
                  <a:pt x="8593431" y="5660040"/>
                  <a:pt x="8532559" y="5656222"/>
                </a:cubicBezTo>
                <a:cubicBezTo>
                  <a:pt x="8471686" y="5679131"/>
                  <a:pt x="8494113" y="5782221"/>
                  <a:pt x="8513336" y="5847129"/>
                </a:cubicBezTo>
                <a:cubicBezTo>
                  <a:pt x="8567800" y="5912037"/>
                  <a:pt x="8558189" y="5931128"/>
                  <a:pt x="8551781" y="6038035"/>
                </a:cubicBezTo>
                <a:cubicBezTo>
                  <a:pt x="8519744" y="6148761"/>
                  <a:pt x="8535762" y="6263305"/>
                  <a:pt x="8532559" y="6381667"/>
                </a:cubicBezTo>
                <a:cubicBezTo>
                  <a:pt x="8532559" y="6381667"/>
                  <a:pt x="8551781" y="6427484"/>
                  <a:pt x="8558189" y="6450393"/>
                </a:cubicBezTo>
                <a:cubicBezTo>
                  <a:pt x="8574208" y="6503847"/>
                  <a:pt x="8619061" y="6522938"/>
                  <a:pt x="8622265" y="6580209"/>
                </a:cubicBezTo>
                <a:cubicBezTo>
                  <a:pt x="8635080" y="6629845"/>
                  <a:pt x="8628673" y="6683298"/>
                  <a:pt x="8641488" y="6732935"/>
                </a:cubicBezTo>
                <a:cubicBezTo>
                  <a:pt x="8673526" y="6759661"/>
                  <a:pt x="8676730" y="6801661"/>
                  <a:pt x="8692749" y="6839842"/>
                </a:cubicBezTo>
                <a:cubicBezTo>
                  <a:pt x="8708768" y="6881841"/>
                  <a:pt x="8724787" y="6939113"/>
                  <a:pt x="8744010" y="6977294"/>
                </a:cubicBezTo>
                <a:cubicBezTo>
                  <a:pt x="8750417" y="6992567"/>
                  <a:pt x="8766436" y="7000203"/>
                  <a:pt x="8776047" y="7015475"/>
                </a:cubicBezTo>
                <a:cubicBezTo>
                  <a:pt x="8776047" y="7015475"/>
                  <a:pt x="8801678" y="7038384"/>
                  <a:pt x="8814493" y="7046021"/>
                </a:cubicBezTo>
                <a:cubicBezTo>
                  <a:pt x="8849735" y="7068930"/>
                  <a:pt x="8881773" y="7088020"/>
                  <a:pt x="8910607" y="7122383"/>
                </a:cubicBezTo>
                <a:cubicBezTo>
                  <a:pt x="8952257" y="7137656"/>
                  <a:pt x="8997110" y="7141474"/>
                  <a:pt x="9038759" y="7145292"/>
                </a:cubicBezTo>
                <a:cubicBezTo>
                  <a:pt x="9077205" y="7080384"/>
                  <a:pt x="9086816" y="6984931"/>
                  <a:pt x="9090020" y="6908568"/>
                </a:cubicBezTo>
                <a:cubicBezTo>
                  <a:pt x="9090020" y="6908568"/>
                  <a:pt x="9096427" y="6878023"/>
                  <a:pt x="9102835" y="6862751"/>
                </a:cubicBezTo>
                <a:cubicBezTo>
                  <a:pt x="9109243" y="6847478"/>
                  <a:pt x="9093224" y="6832206"/>
                  <a:pt x="9102835" y="6816933"/>
                </a:cubicBezTo>
                <a:cubicBezTo>
                  <a:pt x="9176523" y="6759661"/>
                  <a:pt x="9192542" y="6606936"/>
                  <a:pt x="9198949" y="6519119"/>
                </a:cubicBezTo>
                <a:cubicBezTo>
                  <a:pt x="9198949" y="6519119"/>
                  <a:pt x="9247006" y="6503847"/>
                  <a:pt x="9269433" y="6496211"/>
                </a:cubicBezTo>
                <a:cubicBezTo>
                  <a:pt x="9314286" y="6477120"/>
                  <a:pt x="9343121" y="6442756"/>
                  <a:pt x="9384770" y="6419848"/>
                </a:cubicBezTo>
                <a:cubicBezTo>
                  <a:pt x="9413604" y="6400757"/>
                  <a:pt x="9445642" y="6358758"/>
                  <a:pt x="9461661" y="6328213"/>
                </a:cubicBezTo>
                <a:cubicBezTo>
                  <a:pt x="9484088" y="6286214"/>
                  <a:pt x="9544960" y="6144942"/>
                  <a:pt x="9551368" y="6099125"/>
                </a:cubicBezTo>
                <a:cubicBezTo>
                  <a:pt x="9580202" y="6064762"/>
                  <a:pt x="9560979" y="6080035"/>
                  <a:pt x="9609036" y="6060944"/>
                </a:cubicBezTo>
                <a:cubicBezTo>
                  <a:pt x="9628259" y="6060944"/>
                  <a:pt x="9830098" y="6053307"/>
                  <a:pt x="9846118" y="5992217"/>
                </a:cubicBezTo>
                <a:cubicBezTo>
                  <a:pt x="9855729" y="5961672"/>
                  <a:pt x="9900582" y="5954036"/>
                  <a:pt x="9910194" y="5923491"/>
                </a:cubicBezTo>
                <a:cubicBezTo>
                  <a:pt x="9945435" y="5896764"/>
                  <a:pt x="9958251" y="5858584"/>
                  <a:pt x="9987085" y="5824220"/>
                </a:cubicBezTo>
                <a:cubicBezTo>
                  <a:pt x="10006307" y="5801312"/>
                  <a:pt x="9999900" y="5782221"/>
                  <a:pt x="10025530" y="5763131"/>
                </a:cubicBezTo>
                <a:cubicBezTo>
                  <a:pt x="9868544" y="5724949"/>
                  <a:pt x="9887767" y="5820402"/>
                  <a:pt x="9878155" y="5572224"/>
                </a:cubicBezTo>
                <a:cubicBezTo>
                  <a:pt x="9910193" y="5583678"/>
                  <a:pt x="9926213" y="5602769"/>
                  <a:pt x="9935824" y="5640950"/>
                </a:cubicBezTo>
                <a:cubicBezTo>
                  <a:pt x="9955047" y="5656223"/>
                  <a:pt x="9974270" y="5679132"/>
                  <a:pt x="9993492" y="5694404"/>
                </a:cubicBezTo>
                <a:cubicBezTo>
                  <a:pt x="10067180" y="5705858"/>
                  <a:pt x="10060772" y="5705858"/>
                  <a:pt x="10070383" y="5625678"/>
                </a:cubicBezTo>
                <a:cubicBezTo>
                  <a:pt x="10070383" y="5625678"/>
                  <a:pt x="10063976" y="5595133"/>
                  <a:pt x="10057568" y="5579860"/>
                </a:cubicBezTo>
                <a:cubicBezTo>
                  <a:pt x="10031938" y="5534042"/>
                  <a:pt x="10031938" y="5484407"/>
                  <a:pt x="10019123" y="5434772"/>
                </a:cubicBezTo>
                <a:cubicBezTo>
                  <a:pt x="10063976" y="5453862"/>
                  <a:pt x="10047957" y="5476771"/>
                  <a:pt x="10057568" y="5411862"/>
                </a:cubicBezTo>
                <a:cubicBezTo>
                  <a:pt x="10057568" y="5411862"/>
                  <a:pt x="10060772" y="5377500"/>
                  <a:pt x="10063976" y="5343136"/>
                </a:cubicBezTo>
                <a:cubicBezTo>
                  <a:pt x="10051161" y="5301136"/>
                  <a:pt x="10086402" y="5304955"/>
                  <a:pt x="10057568" y="5251501"/>
                </a:cubicBezTo>
                <a:cubicBezTo>
                  <a:pt x="10031938" y="5232411"/>
                  <a:pt x="9971066" y="5156048"/>
                  <a:pt x="9961454" y="5121685"/>
                </a:cubicBezTo>
                <a:cubicBezTo>
                  <a:pt x="10019123" y="5117867"/>
                  <a:pt x="10124848" y="5171320"/>
                  <a:pt x="10147275" y="5091140"/>
                </a:cubicBezTo>
                <a:cubicBezTo>
                  <a:pt x="10092811" y="5079685"/>
                  <a:pt x="10067180" y="5060595"/>
                  <a:pt x="10083199" y="4999505"/>
                </a:cubicBezTo>
                <a:cubicBezTo>
                  <a:pt x="10147274" y="4988051"/>
                  <a:pt x="10137663" y="5010959"/>
                  <a:pt x="10166498" y="4946051"/>
                </a:cubicBezTo>
                <a:cubicBezTo>
                  <a:pt x="10204943" y="4862052"/>
                  <a:pt x="10169702" y="4976596"/>
                  <a:pt x="10192128" y="4900233"/>
                </a:cubicBezTo>
                <a:cubicBezTo>
                  <a:pt x="10096014" y="4881143"/>
                  <a:pt x="10086403" y="4816235"/>
                  <a:pt x="10057568" y="4709327"/>
                </a:cubicBezTo>
                <a:cubicBezTo>
                  <a:pt x="10070384" y="4667328"/>
                  <a:pt x="10067180" y="4732236"/>
                  <a:pt x="10096014" y="4785690"/>
                </a:cubicBezTo>
                <a:cubicBezTo>
                  <a:pt x="10188924" y="4858234"/>
                  <a:pt x="10166497" y="4774236"/>
                  <a:pt x="10172905" y="4663510"/>
                </a:cubicBezTo>
                <a:cubicBezTo>
                  <a:pt x="10172905" y="4663510"/>
                  <a:pt x="10163294" y="4632965"/>
                  <a:pt x="10160090" y="4617693"/>
                </a:cubicBezTo>
                <a:cubicBezTo>
                  <a:pt x="10147275" y="4571875"/>
                  <a:pt x="10160090" y="4602420"/>
                  <a:pt x="10140867" y="4564238"/>
                </a:cubicBezTo>
                <a:cubicBezTo>
                  <a:pt x="10102422" y="4548966"/>
                  <a:pt x="10067180" y="4514603"/>
                  <a:pt x="10044753" y="4472603"/>
                </a:cubicBezTo>
                <a:cubicBezTo>
                  <a:pt x="10015919" y="4449695"/>
                  <a:pt x="10047957" y="4442058"/>
                  <a:pt x="10057568" y="4403877"/>
                </a:cubicBezTo>
                <a:cubicBezTo>
                  <a:pt x="10185720" y="4396241"/>
                  <a:pt x="10204944" y="4442058"/>
                  <a:pt x="10217759" y="4319878"/>
                </a:cubicBezTo>
                <a:cubicBezTo>
                  <a:pt x="10108829" y="4293151"/>
                  <a:pt x="10031938" y="4228243"/>
                  <a:pt x="10076791" y="4067882"/>
                </a:cubicBezTo>
                <a:cubicBezTo>
                  <a:pt x="10121644" y="4048791"/>
                  <a:pt x="10073587" y="3934247"/>
                  <a:pt x="10096014" y="3892248"/>
                </a:cubicBezTo>
                <a:cubicBezTo>
                  <a:pt x="10121644" y="3873158"/>
                  <a:pt x="10153682" y="3926611"/>
                  <a:pt x="10179313" y="3907521"/>
                </a:cubicBezTo>
                <a:cubicBezTo>
                  <a:pt x="10160090" y="3869339"/>
                  <a:pt x="10179313" y="3770068"/>
                  <a:pt x="10172905" y="3724251"/>
                </a:cubicBezTo>
                <a:cubicBezTo>
                  <a:pt x="10179313" y="3659343"/>
                  <a:pt x="10150478" y="3640252"/>
                  <a:pt x="10166497" y="3579162"/>
                </a:cubicBezTo>
                <a:cubicBezTo>
                  <a:pt x="10169702" y="3571525"/>
                  <a:pt x="10179313" y="3590616"/>
                  <a:pt x="10185721" y="3594434"/>
                </a:cubicBezTo>
                <a:cubicBezTo>
                  <a:pt x="10204943" y="3598252"/>
                  <a:pt x="10224166" y="3598252"/>
                  <a:pt x="10243389" y="3602071"/>
                </a:cubicBezTo>
                <a:cubicBezTo>
                  <a:pt x="10259408" y="3590616"/>
                  <a:pt x="10288242" y="3533344"/>
                  <a:pt x="10275427" y="3518072"/>
                </a:cubicBezTo>
                <a:cubicBezTo>
                  <a:pt x="10262612" y="3502799"/>
                  <a:pt x="10172905" y="3521890"/>
                  <a:pt x="10160090" y="3502800"/>
                </a:cubicBezTo>
                <a:cubicBezTo>
                  <a:pt x="10131256" y="3479890"/>
                  <a:pt x="10140867" y="3468436"/>
                  <a:pt x="10166497" y="3449345"/>
                </a:cubicBezTo>
                <a:cubicBezTo>
                  <a:pt x="10214555" y="3445527"/>
                  <a:pt x="10291446" y="3487527"/>
                  <a:pt x="10307465" y="3434073"/>
                </a:cubicBezTo>
                <a:cubicBezTo>
                  <a:pt x="10312271" y="3416891"/>
                  <a:pt x="10324285" y="3356756"/>
                  <a:pt x="10327289" y="3327762"/>
                </a:cubicBezTo>
                <a:lnTo>
                  <a:pt x="10327353" y="3326667"/>
                </a:lnTo>
                <a:lnTo>
                  <a:pt x="10354176" y="3322744"/>
                </a:lnTo>
                <a:cubicBezTo>
                  <a:pt x="10384607" y="3312609"/>
                  <a:pt x="10405181" y="3284689"/>
                  <a:pt x="10409986" y="3220258"/>
                </a:cubicBezTo>
                <a:cubicBezTo>
                  <a:pt x="10477266" y="3208803"/>
                  <a:pt x="10435617" y="3166804"/>
                  <a:pt x="10461247" y="3098078"/>
                </a:cubicBezTo>
                <a:cubicBezTo>
                  <a:pt x="10474063" y="3059897"/>
                  <a:pt x="10506100" y="3040806"/>
                  <a:pt x="10531731" y="3021715"/>
                </a:cubicBezTo>
                <a:cubicBezTo>
                  <a:pt x="10509305" y="2983534"/>
                  <a:pt x="10518916" y="2941535"/>
                  <a:pt x="10506101" y="2899535"/>
                </a:cubicBezTo>
                <a:cubicBezTo>
                  <a:pt x="10506101" y="2899535"/>
                  <a:pt x="10480470" y="2891899"/>
                  <a:pt x="10467655" y="2884263"/>
                </a:cubicBezTo>
                <a:cubicBezTo>
                  <a:pt x="10409986" y="2838446"/>
                  <a:pt x="10445228" y="2853718"/>
                  <a:pt x="10365133" y="2846082"/>
                </a:cubicBezTo>
                <a:cubicBezTo>
                  <a:pt x="10326688" y="2861354"/>
                  <a:pt x="10313872" y="2899535"/>
                  <a:pt x="10275426" y="2914808"/>
                </a:cubicBezTo>
                <a:cubicBezTo>
                  <a:pt x="10267417" y="2910989"/>
                  <a:pt x="10250597" y="2903353"/>
                  <a:pt x="10234578" y="2895717"/>
                </a:cubicBezTo>
                <a:lnTo>
                  <a:pt x="10227999" y="2892468"/>
                </a:lnTo>
                <a:lnTo>
                  <a:pt x="10227520" y="2884561"/>
                </a:lnTo>
                <a:cubicBezTo>
                  <a:pt x="10226168" y="2879013"/>
                  <a:pt x="10223366" y="2873762"/>
                  <a:pt x="10217759" y="2868990"/>
                </a:cubicBezTo>
                <a:cubicBezTo>
                  <a:pt x="10208147" y="2849899"/>
                  <a:pt x="10194531" y="2833672"/>
                  <a:pt x="10184519" y="2816968"/>
                </a:cubicBezTo>
                <a:lnTo>
                  <a:pt x="10183873" y="2815500"/>
                </a:lnTo>
                <a:lnTo>
                  <a:pt x="10181866" y="2790182"/>
                </a:lnTo>
                <a:cubicBezTo>
                  <a:pt x="10180314" y="2779503"/>
                  <a:pt x="10177711" y="2769719"/>
                  <a:pt x="10172905" y="2762083"/>
                </a:cubicBezTo>
                <a:cubicBezTo>
                  <a:pt x="10170502" y="2772582"/>
                  <a:pt x="10170903" y="2782128"/>
                  <a:pt x="10173155" y="2791136"/>
                </a:cubicBezTo>
                <a:lnTo>
                  <a:pt x="10183873" y="2815500"/>
                </a:lnTo>
                <a:lnTo>
                  <a:pt x="10184519" y="2823650"/>
                </a:lnTo>
                <a:cubicBezTo>
                  <a:pt x="10185720" y="2846082"/>
                  <a:pt x="10187322" y="2867081"/>
                  <a:pt x="10198535" y="2876627"/>
                </a:cubicBezTo>
                <a:cubicBezTo>
                  <a:pt x="10200938" y="2878536"/>
                  <a:pt x="10205944" y="2881399"/>
                  <a:pt x="10212352" y="2884740"/>
                </a:cubicBezTo>
                <a:lnTo>
                  <a:pt x="10227999" y="2892468"/>
                </a:lnTo>
                <a:lnTo>
                  <a:pt x="10228571" y="2901921"/>
                </a:lnTo>
                <a:cubicBezTo>
                  <a:pt x="10228171" y="2913854"/>
                  <a:pt x="10227370" y="2926262"/>
                  <a:pt x="10236981" y="2937717"/>
                </a:cubicBezTo>
                <a:cubicBezTo>
                  <a:pt x="10243389" y="2941535"/>
                  <a:pt x="10253000" y="2941535"/>
                  <a:pt x="10256204" y="2945353"/>
                </a:cubicBezTo>
                <a:cubicBezTo>
                  <a:pt x="10259408" y="2949171"/>
                  <a:pt x="10256204" y="2964443"/>
                  <a:pt x="10262612" y="2968261"/>
                </a:cubicBezTo>
                <a:cubicBezTo>
                  <a:pt x="10269019" y="2975898"/>
                  <a:pt x="10281835" y="2998806"/>
                  <a:pt x="10275427" y="3006443"/>
                </a:cubicBezTo>
                <a:cubicBezTo>
                  <a:pt x="10265816" y="3017897"/>
                  <a:pt x="10262612" y="2979716"/>
                  <a:pt x="10249796" y="2983534"/>
                </a:cubicBezTo>
                <a:cubicBezTo>
                  <a:pt x="10208147" y="2952989"/>
                  <a:pt x="10230573" y="3048442"/>
                  <a:pt x="10198536" y="2991170"/>
                </a:cubicBezTo>
                <a:cubicBezTo>
                  <a:pt x="10198536" y="2991170"/>
                  <a:pt x="10160090" y="2926262"/>
                  <a:pt x="10147275" y="2930081"/>
                </a:cubicBezTo>
                <a:cubicBezTo>
                  <a:pt x="10134459" y="2933898"/>
                  <a:pt x="10140867" y="2960626"/>
                  <a:pt x="10134459" y="2975898"/>
                </a:cubicBezTo>
                <a:cubicBezTo>
                  <a:pt x="10121644" y="3014079"/>
                  <a:pt x="10108829" y="3048442"/>
                  <a:pt x="10096014" y="3090442"/>
                </a:cubicBezTo>
                <a:cubicBezTo>
                  <a:pt x="10096014" y="3090442"/>
                  <a:pt x="10067180" y="3105714"/>
                  <a:pt x="10057568" y="3120987"/>
                </a:cubicBezTo>
                <a:cubicBezTo>
                  <a:pt x="10031938" y="3166804"/>
                  <a:pt x="10022326" y="3204985"/>
                  <a:pt x="10006307" y="3258439"/>
                </a:cubicBezTo>
                <a:cubicBezTo>
                  <a:pt x="10015919" y="3292802"/>
                  <a:pt x="10003103" y="3300439"/>
                  <a:pt x="9980677" y="3327166"/>
                </a:cubicBezTo>
                <a:cubicBezTo>
                  <a:pt x="9939027" y="3338620"/>
                  <a:pt x="9945435" y="3311893"/>
                  <a:pt x="9955047" y="3273711"/>
                </a:cubicBezTo>
                <a:cubicBezTo>
                  <a:pt x="9996696" y="3239349"/>
                  <a:pt x="9974269" y="3185895"/>
                  <a:pt x="9999900" y="3136260"/>
                </a:cubicBezTo>
                <a:cubicBezTo>
                  <a:pt x="9999900" y="3136260"/>
                  <a:pt x="10067180" y="3098077"/>
                  <a:pt x="10070384" y="3059897"/>
                </a:cubicBezTo>
                <a:cubicBezTo>
                  <a:pt x="10076791" y="3006442"/>
                  <a:pt x="10131256" y="2811718"/>
                  <a:pt x="10044753" y="2777355"/>
                </a:cubicBezTo>
                <a:cubicBezTo>
                  <a:pt x="10044753" y="2777355"/>
                  <a:pt x="10015919" y="2792628"/>
                  <a:pt x="10006308" y="2807901"/>
                </a:cubicBezTo>
                <a:cubicBezTo>
                  <a:pt x="9983881" y="2834627"/>
                  <a:pt x="9987085" y="2891899"/>
                  <a:pt x="9955047" y="2930080"/>
                </a:cubicBezTo>
                <a:cubicBezTo>
                  <a:pt x="9932620" y="2933898"/>
                  <a:pt x="9910193" y="2922444"/>
                  <a:pt x="9890970" y="2937717"/>
                </a:cubicBezTo>
                <a:cubicBezTo>
                  <a:pt x="9881359" y="2945353"/>
                  <a:pt x="9833302" y="2983534"/>
                  <a:pt x="9833302" y="2983534"/>
                </a:cubicBezTo>
                <a:cubicBezTo>
                  <a:pt x="9817283" y="2983534"/>
                  <a:pt x="9830098" y="2945353"/>
                  <a:pt x="9839710" y="2930081"/>
                </a:cubicBezTo>
                <a:cubicBezTo>
                  <a:pt x="9887767" y="2891900"/>
                  <a:pt x="9932620" y="2907172"/>
                  <a:pt x="9903786" y="2800264"/>
                </a:cubicBezTo>
                <a:cubicBezTo>
                  <a:pt x="9842914" y="2796446"/>
                  <a:pt x="9820487" y="2762082"/>
                  <a:pt x="9762818" y="2784992"/>
                </a:cubicBezTo>
                <a:cubicBezTo>
                  <a:pt x="9685927" y="2792628"/>
                  <a:pt x="9625055" y="2826991"/>
                  <a:pt x="9570590" y="2891899"/>
                </a:cubicBezTo>
                <a:cubicBezTo>
                  <a:pt x="9544960" y="2903353"/>
                  <a:pt x="9535348" y="2930081"/>
                  <a:pt x="9525737" y="2891899"/>
                </a:cubicBezTo>
                <a:cubicBezTo>
                  <a:pt x="9576998" y="2876626"/>
                  <a:pt x="9551367" y="2823173"/>
                  <a:pt x="9576998" y="2777355"/>
                </a:cubicBezTo>
                <a:cubicBezTo>
                  <a:pt x="9576998" y="2777355"/>
                  <a:pt x="9615444" y="2765901"/>
                  <a:pt x="9634666" y="2754447"/>
                </a:cubicBezTo>
                <a:cubicBezTo>
                  <a:pt x="9641074" y="2750628"/>
                  <a:pt x="9647482" y="2742992"/>
                  <a:pt x="9653889" y="2739174"/>
                </a:cubicBezTo>
                <a:cubicBezTo>
                  <a:pt x="9666705" y="2731537"/>
                  <a:pt x="9679520" y="2727720"/>
                  <a:pt x="9692335" y="2723901"/>
                </a:cubicBezTo>
                <a:cubicBezTo>
                  <a:pt x="9814080" y="2716265"/>
                  <a:pt x="9801265" y="2716265"/>
                  <a:pt x="9884563" y="2731538"/>
                </a:cubicBezTo>
                <a:cubicBezTo>
                  <a:pt x="9884563" y="2731538"/>
                  <a:pt x="9906990" y="2708628"/>
                  <a:pt x="9923008" y="2700992"/>
                </a:cubicBezTo>
                <a:cubicBezTo>
                  <a:pt x="9935824" y="2697174"/>
                  <a:pt x="9948639" y="2689538"/>
                  <a:pt x="9961454" y="2685720"/>
                </a:cubicBezTo>
                <a:cubicBezTo>
                  <a:pt x="10063976" y="2670448"/>
                  <a:pt x="9980677" y="2681902"/>
                  <a:pt x="10025530" y="2616994"/>
                </a:cubicBezTo>
                <a:cubicBezTo>
                  <a:pt x="10031938" y="2609358"/>
                  <a:pt x="10047957" y="2620812"/>
                  <a:pt x="10051161" y="2609358"/>
                </a:cubicBezTo>
                <a:cubicBezTo>
                  <a:pt x="10060772" y="2571176"/>
                  <a:pt x="10054364" y="2532995"/>
                  <a:pt x="10057569" y="2494814"/>
                </a:cubicBezTo>
                <a:cubicBezTo>
                  <a:pt x="10035142" y="2479541"/>
                  <a:pt x="10019123" y="2460450"/>
                  <a:pt x="9993492" y="2448996"/>
                </a:cubicBezTo>
                <a:cubicBezTo>
                  <a:pt x="9945435" y="2487178"/>
                  <a:pt x="10003104" y="2452815"/>
                  <a:pt x="9967862" y="2426087"/>
                </a:cubicBezTo>
                <a:cubicBezTo>
                  <a:pt x="9955047" y="2414633"/>
                  <a:pt x="9932620" y="2422269"/>
                  <a:pt x="9916601" y="2418451"/>
                </a:cubicBezTo>
                <a:cubicBezTo>
                  <a:pt x="9903786" y="2422269"/>
                  <a:pt x="9884563" y="2456633"/>
                  <a:pt x="9878155" y="2441360"/>
                </a:cubicBezTo>
                <a:cubicBezTo>
                  <a:pt x="9871748" y="2429905"/>
                  <a:pt x="9884563" y="2414633"/>
                  <a:pt x="9884563" y="2403179"/>
                </a:cubicBezTo>
                <a:cubicBezTo>
                  <a:pt x="9887766" y="2376452"/>
                  <a:pt x="9887767" y="2345907"/>
                  <a:pt x="9890970" y="2319180"/>
                </a:cubicBezTo>
                <a:cubicBezTo>
                  <a:pt x="9830098" y="2311544"/>
                  <a:pt x="9826895" y="2315361"/>
                  <a:pt x="9775634" y="2326816"/>
                </a:cubicBezTo>
                <a:cubicBezTo>
                  <a:pt x="9775634" y="2326816"/>
                  <a:pt x="9628259" y="2315362"/>
                  <a:pt x="9609036" y="2380270"/>
                </a:cubicBezTo>
                <a:cubicBezTo>
                  <a:pt x="9480884" y="2395543"/>
                  <a:pt x="9528941" y="2380270"/>
                  <a:pt x="9493699" y="2510086"/>
                </a:cubicBezTo>
                <a:cubicBezTo>
                  <a:pt x="9432026" y="2459973"/>
                  <a:pt x="9507716" y="2418630"/>
                  <a:pt x="9454627" y="2396288"/>
                </a:cubicBezTo>
                <a:lnTo>
                  <a:pt x="9425556" y="2388531"/>
                </a:lnTo>
                <a:lnTo>
                  <a:pt x="9436031" y="2372634"/>
                </a:lnTo>
                <a:cubicBezTo>
                  <a:pt x="9493699" y="2349725"/>
                  <a:pt x="9541757" y="2303907"/>
                  <a:pt x="9602628" y="2288635"/>
                </a:cubicBezTo>
                <a:cubicBezTo>
                  <a:pt x="9641074" y="2284817"/>
                  <a:pt x="9717965" y="2292453"/>
                  <a:pt x="9769226" y="2273363"/>
                </a:cubicBezTo>
                <a:cubicBezTo>
                  <a:pt x="9788449" y="2265726"/>
                  <a:pt x="9865340" y="2242817"/>
                  <a:pt x="9852525" y="2204636"/>
                </a:cubicBezTo>
                <a:cubicBezTo>
                  <a:pt x="9849321" y="2197001"/>
                  <a:pt x="9843714" y="2191273"/>
                  <a:pt x="9837707" y="2185546"/>
                </a:cubicBezTo>
                <a:lnTo>
                  <a:pt x="9829829" y="2176812"/>
                </a:lnTo>
                <a:lnTo>
                  <a:pt x="11460104" y="2950064"/>
                </a:lnTo>
                <a:lnTo>
                  <a:pt x="6219724" y="13998542"/>
                </a:lnTo>
                <a:close/>
              </a:path>
            </a:pathLst>
          </a:cu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A95359-B7BB-44FC-96BE-1838F52107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445072"/>
            <a:ext cx="10820400" cy="48088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9C124A9-43FF-4F76-8266-7F82614DA74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7700" y="980100"/>
            <a:ext cx="10820400" cy="2462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5558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FFA368-C987-41CD-B69C-459103D28892}" type="datetimeFigureOut">
              <a:rPr lang="en-CA" smtClean="0"/>
              <a:t>2024-07-17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B15FC4-A4E6-483B-ABA6-EF488568731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66086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27F28095-2F04-AA41-BD91-086C08F9CF42}"/>
              </a:ext>
            </a:extLst>
          </p:cNvPr>
          <p:cNvSpPr/>
          <p:nvPr userDrawn="1"/>
        </p:nvSpPr>
        <p:spPr>
          <a:xfrm rot="10800000">
            <a:off x="1" y="-1"/>
            <a:ext cx="12191999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  <a:lumOff val="10000"/>
                </a:schemeClr>
              </a:gs>
              <a:gs pos="100000">
                <a:schemeClr val="accent1"/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799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8D121B0-51E7-2547-99AD-62536776D7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199083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45346F1E-E3BB-44EA-B91B-FD281D20DD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0"/>
            <a:ext cx="12192000" cy="6858000"/>
          </a:xfrm>
          <a:prstGeom prst="rect">
            <a:avLst/>
          </a:prstGeom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233C0181-584E-4331-83E5-AEF87EBD9BA3}"/>
              </a:ext>
            </a:extLst>
          </p:cNvPr>
          <p:cNvSpPr/>
          <p:nvPr userDrawn="1"/>
        </p:nvSpPr>
        <p:spPr>
          <a:xfrm>
            <a:off x="-1" y="3242"/>
            <a:ext cx="12192000" cy="6854758"/>
          </a:xfrm>
          <a:custGeom>
            <a:avLst/>
            <a:gdLst>
              <a:gd name="connsiteX0" fmla="*/ 2 w 12192000"/>
              <a:gd name="connsiteY0" fmla="*/ 5062244 h 6854758"/>
              <a:gd name="connsiteX1" fmla="*/ 2 w 12192000"/>
              <a:gd name="connsiteY1" fmla="*/ 6851516 h 6854758"/>
              <a:gd name="connsiteX2" fmla="*/ 435431 w 12192000"/>
              <a:gd name="connsiteY2" fmla="*/ 6851516 h 6854758"/>
              <a:gd name="connsiteX3" fmla="*/ 435431 w 12192000"/>
              <a:gd name="connsiteY3" fmla="*/ 5062244 h 6854758"/>
              <a:gd name="connsiteX4" fmla="*/ 1085008 w 12192000"/>
              <a:gd name="connsiteY4" fmla="*/ 4631863 h 6854758"/>
              <a:gd name="connsiteX5" fmla="*/ 1085008 w 12192000"/>
              <a:gd name="connsiteY5" fmla="*/ 6421135 h 6854758"/>
              <a:gd name="connsiteX6" fmla="*/ 1520437 w 12192000"/>
              <a:gd name="connsiteY6" fmla="*/ 6421135 h 6854758"/>
              <a:gd name="connsiteX7" fmla="*/ 1520437 w 12192000"/>
              <a:gd name="connsiteY7" fmla="*/ 4631863 h 6854758"/>
              <a:gd name="connsiteX8" fmla="*/ 3255020 w 12192000"/>
              <a:gd name="connsiteY8" fmla="*/ 4051291 h 6854758"/>
              <a:gd name="connsiteX9" fmla="*/ 3255020 w 12192000"/>
              <a:gd name="connsiteY9" fmla="*/ 5840563 h 6854758"/>
              <a:gd name="connsiteX10" fmla="*/ 3690448 w 12192000"/>
              <a:gd name="connsiteY10" fmla="*/ 5840563 h 6854758"/>
              <a:gd name="connsiteX11" fmla="*/ 3690448 w 12192000"/>
              <a:gd name="connsiteY11" fmla="*/ 4051291 h 6854758"/>
              <a:gd name="connsiteX12" fmla="*/ 7268557 w 12192000"/>
              <a:gd name="connsiteY12" fmla="*/ 3860455 h 6854758"/>
              <a:gd name="connsiteX13" fmla="*/ 6608158 w 12192000"/>
              <a:gd name="connsiteY13" fmla="*/ 4520854 h 6854758"/>
              <a:gd name="connsiteX14" fmla="*/ 7268557 w 12192000"/>
              <a:gd name="connsiteY14" fmla="*/ 5181253 h 6854758"/>
              <a:gd name="connsiteX15" fmla="*/ 7928956 w 12192000"/>
              <a:gd name="connsiteY15" fmla="*/ 4520854 h 6854758"/>
              <a:gd name="connsiteX16" fmla="*/ 7268557 w 12192000"/>
              <a:gd name="connsiteY16" fmla="*/ 3860455 h 6854758"/>
              <a:gd name="connsiteX17" fmla="*/ 542505 w 12192000"/>
              <a:gd name="connsiteY17" fmla="*/ 3660502 h 6854758"/>
              <a:gd name="connsiteX18" fmla="*/ 542505 w 12192000"/>
              <a:gd name="connsiteY18" fmla="*/ 5449774 h 6854758"/>
              <a:gd name="connsiteX19" fmla="*/ 977934 w 12192000"/>
              <a:gd name="connsiteY19" fmla="*/ 5449774 h 6854758"/>
              <a:gd name="connsiteX20" fmla="*/ 977934 w 12192000"/>
              <a:gd name="connsiteY20" fmla="*/ 3660502 h 6854758"/>
              <a:gd name="connsiteX21" fmla="*/ 3797522 w 12192000"/>
              <a:gd name="connsiteY21" fmla="*/ 3626218 h 6854758"/>
              <a:gd name="connsiteX22" fmla="*/ 3797522 w 12192000"/>
              <a:gd name="connsiteY22" fmla="*/ 5415490 h 6854758"/>
              <a:gd name="connsiteX23" fmla="*/ 4232950 w 12192000"/>
              <a:gd name="connsiteY23" fmla="*/ 5415490 h 6854758"/>
              <a:gd name="connsiteX24" fmla="*/ 4232950 w 12192000"/>
              <a:gd name="connsiteY24" fmla="*/ 3626218 h 6854758"/>
              <a:gd name="connsiteX25" fmla="*/ 2170014 w 12192000"/>
              <a:gd name="connsiteY25" fmla="*/ 3168128 h 6854758"/>
              <a:gd name="connsiteX26" fmla="*/ 2170014 w 12192000"/>
              <a:gd name="connsiteY26" fmla="*/ 4957399 h 6854758"/>
              <a:gd name="connsiteX27" fmla="*/ 2605443 w 12192000"/>
              <a:gd name="connsiteY27" fmla="*/ 4957399 h 6854758"/>
              <a:gd name="connsiteX28" fmla="*/ 2605443 w 12192000"/>
              <a:gd name="connsiteY28" fmla="*/ 3168128 h 6854758"/>
              <a:gd name="connsiteX29" fmla="*/ 9492719 w 12192000"/>
              <a:gd name="connsiteY29" fmla="*/ 3168128 h 6854758"/>
              <a:gd name="connsiteX30" fmla="*/ 8643634 w 12192000"/>
              <a:gd name="connsiteY30" fmla="*/ 4017212 h 6854758"/>
              <a:gd name="connsiteX31" fmla="*/ 9492719 w 12192000"/>
              <a:gd name="connsiteY31" fmla="*/ 4866297 h 6854758"/>
              <a:gd name="connsiteX32" fmla="*/ 10341804 w 12192000"/>
              <a:gd name="connsiteY32" fmla="*/ 4017212 h 6854758"/>
              <a:gd name="connsiteX33" fmla="*/ 9492719 w 12192000"/>
              <a:gd name="connsiteY33" fmla="*/ 3168128 h 6854758"/>
              <a:gd name="connsiteX34" fmla="*/ 1627511 w 12192000"/>
              <a:gd name="connsiteY34" fmla="*/ 2842592 h 6854758"/>
              <a:gd name="connsiteX35" fmla="*/ 1627511 w 12192000"/>
              <a:gd name="connsiteY35" fmla="*/ 4631863 h 6854758"/>
              <a:gd name="connsiteX36" fmla="*/ 2062940 w 12192000"/>
              <a:gd name="connsiteY36" fmla="*/ 4631863 h 6854758"/>
              <a:gd name="connsiteX37" fmla="*/ 2062940 w 12192000"/>
              <a:gd name="connsiteY37" fmla="*/ 2842592 h 6854758"/>
              <a:gd name="connsiteX38" fmla="*/ 4340024 w 12192000"/>
              <a:gd name="connsiteY38" fmla="*/ 2731582 h 6854758"/>
              <a:gd name="connsiteX39" fmla="*/ 4340024 w 12192000"/>
              <a:gd name="connsiteY39" fmla="*/ 4520854 h 6854758"/>
              <a:gd name="connsiteX40" fmla="*/ 4775453 w 12192000"/>
              <a:gd name="connsiteY40" fmla="*/ 4520854 h 6854758"/>
              <a:gd name="connsiteX41" fmla="*/ 4775453 w 12192000"/>
              <a:gd name="connsiteY41" fmla="*/ 2731582 h 6854758"/>
              <a:gd name="connsiteX42" fmla="*/ 11299448 w 12192000"/>
              <a:gd name="connsiteY42" fmla="*/ 2319042 h 6854758"/>
              <a:gd name="connsiteX43" fmla="*/ 10450363 w 12192000"/>
              <a:gd name="connsiteY43" fmla="*/ 3168128 h 6854758"/>
              <a:gd name="connsiteX44" fmla="*/ 11299448 w 12192000"/>
              <a:gd name="connsiteY44" fmla="*/ 4017212 h 6854758"/>
              <a:gd name="connsiteX45" fmla="*/ 12148533 w 12192000"/>
              <a:gd name="connsiteY45" fmla="*/ 3168128 h 6854758"/>
              <a:gd name="connsiteX46" fmla="*/ 11299448 w 12192000"/>
              <a:gd name="connsiteY46" fmla="*/ 2319042 h 6854758"/>
              <a:gd name="connsiteX47" fmla="*/ 2712517 w 12192000"/>
              <a:gd name="connsiteY47" fmla="*/ 2262020 h 6854758"/>
              <a:gd name="connsiteX48" fmla="*/ 2712517 w 12192000"/>
              <a:gd name="connsiteY48" fmla="*/ 4051291 h 6854758"/>
              <a:gd name="connsiteX49" fmla="*/ 3147946 w 12192000"/>
              <a:gd name="connsiteY49" fmla="*/ 4051291 h 6854758"/>
              <a:gd name="connsiteX50" fmla="*/ 3147946 w 12192000"/>
              <a:gd name="connsiteY50" fmla="*/ 2262020 h 6854758"/>
              <a:gd name="connsiteX51" fmla="*/ 6204933 w 12192000"/>
              <a:gd name="connsiteY51" fmla="*/ 2231958 h 6854758"/>
              <a:gd name="connsiteX52" fmla="*/ 5544534 w 12192000"/>
              <a:gd name="connsiteY52" fmla="*/ 2892356 h 6854758"/>
              <a:gd name="connsiteX53" fmla="*/ 6204933 w 12192000"/>
              <a:gd name="connsiteY53" fmla="*/ 3552755 h 6854758"/>
              <a:gd name="connsiteX54" fmla="*/ 6865332 w 12192000"/>
              <a:gd name="connsiteY54" fmla="*/ 2892356 h 6854758"/>
              <a:gd name="connsiteX55" fmla="*/ 6204933 w 12192000"/>
              <a:gd name="connsiteY55" fmla="*/ 2231958 h 6854758"/>
              <a:gd name="connsiteX56" fmla="*/ 7874677 w 12192000"/>
              <a:gd name="connsiteY56" fmla="*/ 2112216 h 6854758"/>
              <a:gd name="connsiteX57" fmla="*/ 7214278 w 12192000"/>
              <a:gd name="connsiteY57" fmla="*/ 2772615 h 6854758"/>
              <a:gd name="connsiteX58" fmla="*/ 7874677 w 12192000"/>
              <a:gd name="connsiteY58" fmla="*/ 3433013 h 6854758"/>
              <a:gd name="connsiteX59" fmla="*/ 8535076 w 12192000"/>
              <a:gd name="connsiteY59" fmla="*/ 2772615 h 6854758"/>
              <a:gd name="connsiteX60" fmla="*/ 7874677 w 12192000"/>
              <a:gd name="connsiteY60" fmla="*/ 2112216 h 6854758"/>
              <a:gd name="connsiteX61" fmla="*/ 9514453 w 12192000"/>
              <a:gd name="connsiteY61" fmla="*/ 1698171 h 6854758"/>
              <a:gd name="connsiteX62" fmla="*/ 8941214 w 12192000"/>
              <a:gd name="connsiteY62" fmla="*/ 2271410 h 6854758"/>
              <a:gd name="connsiteX63" fmla="*/ 9514453 w 12192000"/>
              <a:gd name="connsiteY63" fmla="*/ 2844649 h 6854758"/>
              <a:gd name="connsiteX64" fmla="*/ 10087692 w 12192000"/>
              <a:gd name="connsiteY64" fmla="*/ 2271410 h 6854758"/>
              <a:gd name="connsiteX65" fmla="*/ 9514453 w 12192000"/>
              <a:gd name="connsiteY65" fmla="*/ 1698171 h 6854758"/>
              <a:gd name="connsiteX66" fmla="*/ 4882532 w 12192000"/>
              <a:gd name="connsiteY66" fmla="*/ 1424407 h 6854758"/>
              <a:gd name="connsiteX67" fmla="*/ 4882532 w 12192000"/>
              <a:gd name="connsiteY67" fmla="*/ 3213679 h 6854758"/>
              <a:gd name="connsiteX68" fmla="*/ 5317961 w 12192000"/>
              <a:gd name="connsiteY68" fmla="*/ 3213679 h 6854758"/>
              <a:gd name="connsiteX69" fmla="*/ 5317961 w 12192000"/>
              <a:gd name="connsiteY69" fmla="*/ 1424407 h 6854758"/>
              <a:gd name="connsiteX70" fmla="*/ 8164516 w 12192000"/>
              <a:gd name="connsiteY70" fmla="*/ 427443 h 6854758"/>
              <a:gd name="connsiteX71" fmla="*/ 7504117 w 12192000"/>
              <a:gd name="connsiteY71" fmla="*/ 1087842 h 6854758"/>
              <a:gd name="connsiteX72" fmla="*/ 8164516 w 12192000"/>
              <a:gd name="connsiteY72" fmla="*/ 1748241 h 6854758"/>
              <a:gd name="connsiteX73" fmla="*/ 8824915 w 12192000"/>
              <a:gd name="connsiteY73" fmla="*/ 1087842 h 6854758"/>
              <a:gd name="connsiteX74" fmla="*/ 8164516 w 12192000"/>
              <a:gd name="connsiteY74" fmla="*/ 427443 h 6854758"/>
              <a:gd name="connsiteX75" fmla="*/ 6103333 w 12192000"/>
              <a:gd name="connsiteY75" fmla="*/ 25787 h 6854758"/>
              <a:gd name="connsiteX76" fmla="*/ 5254249 w 12192000"/>
              <a:gd name="connsiteY76" fmla="*/ 874872 h 6854758"/>
              <a:gd name="connsiteX77" fmla="*/ 6103333 w 12192000"/>
              <a:gd name="connsiteY77" fmla="*/ 1723957 h 6854758"/>
              <a:gd name="connsiteX78" fmla="*/ 6952418 w 12192000"/>
              <a:gd name="connsiteY78" fmla="*/ 874872 h 6854758"/>
              <a:gd name="connsiteX79" fmla="*/ 6103333 w 12192000"/>
              <a:gd name="connsiteY79" fmla="*/ 25787 h 6854758"/>
              <a:gd name="connsiteX80" fmla="*/ 0 w 12192000"/>
              <a:gd name="connsiteY80" fmla="*/ 0 h 6854758"/>
              <a:gd name="connsiteX81" fmla="*/ 12192000 w 12192000"/>
              <a:gd name="connsiteY81" fmla="*/ 0 h 6854758"/>
              <a:gd name="connsiteX82" fmla="*/ 12192000 w 12192000"/>
              <a:gd name="connsiteY82" fmla="*/ 849086 h 6854758"/>
              <a:gd name="connsiteX83" fmla="*/ 11342915 w 12192000"/>
              <a:gd name="connsiteY83" fmla="*/ 1 h 6854758"/>
              <a:gd name="connsiteX84" fmla="*/ 10493830 w 12192000"/>
              <a:gd name="connsiteY84" fmla="*/ 849086 h 6854758"/>
              <a:gd name="connsiteX85" fmla="*/ 11342915 w 12192000"/>
              <a:gd name="connsiteY85" fmla="*/ 1698171 h 6854758"/>
              <a:gd name="connsiteX86" fmla="*/ 12192000 w 12192000"/>
              <a:gd name="connsiteY86" fmla="*/ 849086 h 6854758"/>
              <a:gd name="connsiteX87" fmla="*/ 12192000 w 12192000"/>
              <a:gd name="connsiteY87" fmla="*/ 6854758 h 6854758"/>
              <a:gd name="connsiteX88" fmla="*/ 0 w 12192000"/>
              <a:gd name="connsiteY88" fmla="*/ 6854758 h 68547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12192000" h="6854758">
                <a:moveTo>
                  <a:pt x="2" y="5062244"/>
                </a:moveTo>
                <a:lnTo>
                  <a:pt x="2" y="6851516"/>
                </a:lnTo>
                <a:lnTo>
                  <a:pt x="435431" y="6851516"/>
                </a:lnTo>
                <a:lnTo>
                  <a:pt x="435431" y="5062244"/>
                </a:lnTo>
                <a:close/>
                <a:moveTo>
                  <a:pt x="1085008" y="4631863"/>
                </a:moveTo>
                <a:lnTo>
                  <a:pt x="1085008" y="6421135"/>
                </a:lnTo>
                <a:lnTo>
                  <a:pt x="1520437" y="6421135"/>
                </a:lnTo>
                <a:lnTo>
                  <a:pt x="1520437" y="4631863"/>
                </a:lnTo>
                <a:close/>
                <a:moveTo>
                  <a:pt x="3255020" y="4051291"/>
                </a:moveTo>
                <a:lnTo>
                  <a:pt x="3255020" y="5840563"/>
                </a:lnTo>
                <a:lnTo>
                  <a:pt x="3690448" y="5840563"/>
                </a:lnTo>
                <a:lnTo>
                  <a:pt x="3690448" y="4051291"/>
                </a:lnTo>
                <a:close/>
                <a:moveTo>
                  <a:pt x="7268557" y="3860455"/>
                </a:moveTo>
                <a:cubicBezTo>
                  <a:pt x="6903829" y="3860455"/>
                  <a:pt x="6608158" y="4156126"/>
                  <a:pt x="6608158" y="4520854"/>
                </a:cubicBezTo>
                <a:cubicBezTo>
                  <a:pt x="6608158" y="4885582"/>
                  <a:pt x="6903829" y="5181253"/>
                  <a:pt x="7268557" y="5181253"/>
                </a:cubicBezTo>
                <a:cubicBezTo>
                  <a:pt x="7633285" y="5181253"/>
                  <a:pt x="7928956" y="4885582"/>
                  <a:pt x="7928956" y="4520854"/>
                </a:cubicBezTo>
                <a:cubicBezTo>
                  <a:pt x="7928956" y="4156126"/>
                  <a:pt x="7633285" y="3860455"/>
                  <a:pt x="7268557" y="3860455"/>
                </a:cubicBezTo>
                <a:close/>
                <a:moveTo>
                  <a:pt x="542505" y="3660502"/>
                </a:moveTo>
                <a:lnTo>
                  <a:pt x="542505" y="5449774"/>
                </a:lnTo>
                <a:lnTo>
                  <a:pt x="977934" y="5449774"/>
                </a:lnTo>
                <a:lnTo>
                  <a:pt x="977934" y="3660502"/>
                </a:lnTo>
                <a:close/>
                <a:moveTo>
                  <a:pt x="3797522" y="3626218"/>
                </a:moveTo>
                <a:lnTo>
                  <a:pt x="3797522" y="5415490"/>
                </a:lnTo>
                <a:lnTo>
                  <a:pt x="4232950" y="5415490"/>
                </a:lnTo>
                <a:lnTo>
                  <a:pt x="4232950" y="3626218"/>
                </a:lnTo>
                <a:close/>
                <a:moveTo>
                  <a:pt x="2170014" y="3168128"/>
                </a:moveTo>
                <a:lnTo>
                  <a:pt x="2170014" y="4957399"/>
                </a:lnTo>
                <a:lnTo>
                  <a:pt x="2605443" y="4957399"/>
                </a:lnTo>
                <a:lnTo>
                  <a:pt x="2605443" y="3168128"/>
                </a:lnTo>
                <a:close/>
                <a:moveTo>
                  <a:pt x="9492719" y="3168128"/>
                </a:moveTo>
                <a:cubicBezTo>
                  <a:pt x="9023782" y="3168128"/>
                  <a:pt x="8643634" y="3548275"/>
                  <a:pt x="8643634" y="4017212"/>
                </a:cubicBezTo>
                <a:cubicBezTo>
                  <a:pt x="8643634" y="4486149"/>
                  <a:pt x="9023782" y="4866297"/>
                  <a:pt x="9492719" y="4866297"/>
                </a:cubicBezTo>
                <a:cubicBezTo>
                  <a:pt x="9961656" y="4866297"/>
                  <a:pt x="10341804" y="4486149"/>
                  <a:pt x="10341804" y="4017212"/>
                </a:cubicBezTo>
                <a:cubicBezTo>
                  <a:pt x="10341804" y="3548275"/>
                  <a:pt x="9961656" y="3168128"/>
                  <a:pt x="9492719" y="3168128"/>
                </a:cubicBezTo>
                <a:close/>
                <a:moveTo>
                  <a:pt x="1627511" y="2842592"/>
                </a:moveTo>
                <a:lnTo>
                  <a:pt x="1627511" y="4631863"/>
                </a:lnTo>
                <a:lnTo>
                  <a:pt x="2062940" y="4631863"/>
                </a:lnTo>
                <a:lnTo>
                  <a:pt x="2062940" y="2842592"/>
                </a:lnTo>
                <a:close/>
                <a:moveTo>
                  <a:pt x="4340024" y="2731582"/>
                </a:moveTo>
                <a:lnTo>
                  <a:pt x="4340024" y="4520854"/>
                </a:lnTo>
                <a:lnTo>
                  <a:pt x="4775453" y="4520854"/>
                </a:lnTo>
                <a:lnTo>
                  <a:pt x="4775453" y="2731582"/>
                </a:lnTo>
                <a:close/>
                <a:moveTo>
                  <a:pt x="11299448" y="2319042"/>
                </a:moveTo>
                <a:cubicBezTo>
                  <a:pt x="10830511" y="2319042"/>
                  <a:pt x="10450363" y="2699191"/>
                  <a:pt x="10450363" y="3168128"/>
                </a:cubicBezTo>
                <a:cubicBezTo>
                  <a:pt x="10450363" y="3637064"/>
                  <a:pt x="10830511" y="4017212"/>
                  <a:pt x="11299448" y="4017212"/>
                </a:cubicBezTo>
                <a:cubicBezTo>
                  <a:pt x="11768385" y="4017212"/>
                  <a:pt x="12148533" y="3637064"/>
                  <a:pt x="12148533" y="3168128"/>
                </a:cubicBezTo>
                <a:cubicBezTo>
                  <a:pt x="12148533" y="2699191"/>
                  <a:pt x="11768385" y="2319042"/>
                  <a:pt x="11299448" y="2319042"/>
                </a:cubicBezTo>
                <a:close/>
                <a:moveTo>
                  <a:pt x="2712517" y="2262020"/>
                </a:moveTo>
                <a:lnTo>
                  <a:pt x="2712517" y="4051291"/>
                </a:lnTo>
                <a:lnTo>
                  <a:pt x="3147946" y="4051291"/>
                </a:lnTo>
                <a:lnTo>
                  <a:pt x="3147946" y="2262020"/>
                </a:lnTo>
                <a:close/>
                <a:moveTo>
                  <a:pt x="6204933" y="2231958"/>
                </a:moveTo>
                <a:cubicBezTo>
                  <a:pt x="5840205" y="2231958"/>
                  <a:pt x="5544534" y="2527629"/>
                  <a:pt x="5544534" y="2892356"/>
                </a:cubicBezTo>
                <a:cubicBezTo>
                  <a:pt x="5544534" y="3257084"/>
                  <a:pt x="5840205" y="3552755"/>
                  <a:pt x="6204933" y="3552755"/>
                </a:cubicBezTo>
                <a:cubicBezTo>
                  <a:pt x="6569661" y="3552755"/>
                  <a:pt x="6865332" y="3257084"/>
                  <a:pt x="6865332" y="2892356"/>
                </a:cubicBezTo>
                <a:cubicBezTo>
                  <a:pt x="6865332" y="2527629"/>
                  <a:pt x="6569661" y="2231958"/>
                  <a:pt x="6204933" y="2231958"/>
                </a:cubicBezTo>
                <a:close/>
                <a:moveTo>
                  <a:pt x="7874677" y="2112216"/>
                </a:moveTo>
                <a:cubicBezTo>
                  <a:pt x="7509949" y="2112216"/>
                  <a:pt x="7214278" y="2407886"/>
                  <a:pt x="7214278" y="2772615"/>
                </a:cubicBezTo>
                <a:cubicBezTo>
                  <a:pt x="7214278" y="3137342"/>
                  <a:pt x="7509949" y="3433013"/>
                  <a:pt x="7874677" y="3433013"/>
                </a:cubicBezTo>
                <a:cubicBezTo>
                  <a:pt x="8239405" y="3433013"/>
                  <a:pt x="8535076" y="3137342"/>
                  <a:pt x="8535076" y="2772615"/>
                </a:cubicBezTo>
                <a:cubicBezTo>
                  <a:pt x="8535076" y="2407886"/>
                  <a:pt x="8239405" y="2112216"/>
                  <a:pt x="7874677" y="2112216"/>
                </a:cubicBezTo>
                <a:close/>
                <a:moveTo>
                  <a:pt x="9514453" y="1698171"/>
                </a:moveTo>
                <a:cubicBezTo>
                  <a:pt x="9197862" y="1698171"/>
                  <a:pt x="8941214" y="1954819"/>
                  <a:pt x="8941214" y="2271410"/>
                </a:cubicBezTo>
                <a:cubicBezTo>
                  <a:pt x="8941214" y="2588001"/>
                  <a:pt x="9197862" y="2844649"/>
                  <a:pt x="9514453" y="2844649"/>
                </a:cubicBezTo>
                <a:cubicBezTo>
                  <a:pt x="9831044" y="2844649"/>
                  <a:pt x="10087692" y="2588001"/>
                  <a:pt x="10087692" y="2271410"/>
                </a:cubicBezTo>
                <a:cubicBezTo>
                  <a:pt x="10087692" y="1954819"/>
                  <a:pt x="9831044" y="1698171"/>
                  <a:pt x="9514453" y="1698171"/>
                </a:cubicBezTo>
                <a:close/>
                <a:moveTo>
                  <a:pt x="4882532" y="1424407"/>
                </a:moveTo>
                <a:lnTo>
                  <a:pt x="4882532" y="3213679"/>
                </a:lnTo>
                <a:lnTo>
                  <a:pt x="5317961" y="3213679"/>
                </a:lnTo>
                <a:lnTo>
                  <a:pt x="5317961" y="1424407"/>
                </a:lnTo>
                <a:close/>
                <a:moveTo>
                  <a:pt x="8164516" y="427443"/>
                </a:moveTo>
                <a:cubicBezTo>
                  <a:pt x="7799788" y="427443"/>
                  <a:pt x="7504117" y="723114"/>
                  <a:pt x="7504117" y="1087842"/>
                </a:cubicBezTo>
                <a:cubicBezTo>
                  <a:pt x="7504117" y="1452570"/>
                  <a:pt x="7799788" y="1748241"/>
                  <a:pt x="8164516" y="1748241"/>
                </a:cubicBezTo>
                <a:cubicBezTo>
                  <a:pt x="8529244" y="1748241"/>
                  <a:pt x="8824915" y="1452570"/>
                  <a:pt x="8824915" y="1087842"/>
                </a:cubicBezTo>
                <a:cubicBezTo>
                  <a:pt x="8824915" y="723114"/>
                  <a:pt x="8529244" y="427443"/>
                  <a:pt x="8164516" y="427443"/>
                </a:cubicBezTo>
                <a:close/>
                <a:moveTo>
                  <a:pt x="6103333" y="25787"/>
                </a:moveTo>
                <a:cubicBezTo>
                  <a:pt x="5634397" y="25787"/>
                  <a:pt x="5254249" y="405935"/>
                  <a:pt x="5254249" y="874872"/>
                </a:cubicBezTo>
                <a:cubicBezTo>
                  <a:pt x="5254249" y="1343809"/>
                  <a:pt x="5634397" y="1723957"/>
                  <a:pt x="6103333" y="1723957"/>
                </a:cubicBezTo>
                <a:cubicBezTo>
                  <a:pt x="6572270" y="1723957"/>
                  <a:pt x="6952418" y="1343809"/>
                  <a:pt x="6952418" y="874872"/>
                </a:cubicBezTo>
                <a:cubicBezTo>
                  <a:pt x="6952418" y="405935"/>
                  <a:pt x="6572270" y="25787"/>
                  <a:pt x="6103333" y="25787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849086"/>
                </a:lnTo>
                <a:cubicBezTo>
                  <a:pt x="12192000" y="380149"/>
                  <a:pt x="11811852" y="1"/>
                  <a:pt x="11342915" y="1"/>
                </a:cubicBezTo>
                <a:cubicBezTo>
                  <a:pt x="10873978" y="1"/>
                  <a:pt x="10493830" y="380149"/>
                  <a:pt x="10493830" y="849086"/>
                </a:cubicBezTo>
                <a:cubicBezTo>
                  <a:pt x="10493830" y="1318023"/>
                  <a:pt x="10873978" y="1698171"/>
                  <a:pt x="11342915" y="1698171"/>
                </a:cubicBezTo>
                <a:cubicBezTo>
                  <a:pt x="11811852" y="1698171"/>
                  <a:pt x="12192000" y="1318023"/>
                  <a:pt x="12192000" y="849086"/>
                </a:cubicBezTo>
                <a:lnTo>
                  <a:pt x="12192000" y="6854758"/>
                </a:lnTo>
                <a:lnTo>
                  <a:pt x="0" y="6854758"/>
                </a:lnTo>
                <a:close/>
              </a:path>
            </a:pathLst>
          </a:custGeom>
          <a:solidFill>
            <a:srgbClr val="FFFFFF">
              <a:alpha val="8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595162" y="1858542"/>
            <a:ext cx="690895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="0" baseline="0" dirty="0">
                <a:solidFill>
                  <a:schemeClr val="tx1"/>
                </a:solidFill>
                <a:latin typeface="+mn-lt"/>
              </a:rPr>
              <a:t>Document type | Dat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DB2087D-04CA-4E72-9612-2AC014DA4C0A}"/>
              </a:ext>
            </a:extLst>
          </p:cNvPr>
          <p:cNvSpPr/>
          <p:nvPr userDrawn="1"/>
        </p:nvSpPr>
        <p:spPr>
          <a:xfrm>
            <a:off x="2819400" y="2378786"/>
            <a:ext cx="5194300" cy="2180514"/>
          </a:xfrm>
          <a:prstGeom prst="rect">
            <a:avLst/>
          </a:prstGeom>
          <a:solidFill>
            <a:schemeClr val="accent3">
              <a:alpha val="8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600" b="1" dirty="0">
              <a:solidFill>
                <a:schemeClr val="accent4"/>
              </a:solidFill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9E90D4A6-EABC-4668-B33A-12C8E0ACFBB3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3021271" y="2915045"/>
            <a:ext cx="4790559" cy="553998"/>
          </a:xfrm>
        </p:spPr>
        <p:txBody>
          <a:bodyPr wrap="square">
            <a:spAutoFit/>
          </a:bodyPr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ITLE OF THE DOCUMENT</a:t>
            </a: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id="{5A7FD2E5-3430-4B6D-8B88-FEEF41234A8A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3021529" y="4119867"/>
            <a:ext cx="4790043" cy="276999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SUBTITLE OF THE DOCUMENT</a:t>
            </a:r>
          </a:p>
        </p:txBody>
      </p:sp>
      <p:sp>
        <p:nvSpPr>
          <p:cNvPr id="85" name="Text Placeholder 84">
            <a:extLst>
              <a:ext uri="{FF2B5EF4-FFF2-40B4-BE49-F238E27FC236}">
                <a16:creationId xmlns:a16="http://schemas.microsoft.com/office/drawing/2014/main" id="{217D11FD-233F-4482-938B-82CA452ECE9C}"/>
              </a:ext>
            </a:extLst>
          </p:cNvPr>
          <p:cNvSpPr>
            <a:spLocks noGrp="1"/>
          </p:cNvSpPr>
          <p:nvPr userDrawn="1">
            <p:ph type="body" sz="quarter" idx="10"/>
          </p:nvPr>
        </p:nvSpPr>
        <p:spPr>
          <a:xfrm>
            <a:off x="3021271" y="2473854"/>
            <a:ext cx="4790559" cy="276999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800" i="1" dirty="0" smtClean="0">
                <a:solidFill>
                  <a:srgbClr val="FFFFFF"/>
                </a:solidFill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IN" dirty="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091229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26" Type="http://schemas.openxmlformats.org/officeDocument/2006/relationships/tags" Target="../tags/tag1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2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5" Type="http://schemas.openxmlformats.org/officeDocument/2006/relationships/tags" Target="../tags/tag1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tags" Target="../tags/tag11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24" Type="http://schemas.openxmlformats.org/officeDocument/2006/relationships/tags" Target="../tags/tag1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23" Type="http://schemas.openxmlformats.org/officeDocument/2006/relationships/tags" Target="../tags/tag14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1.xml"/><Relationship Id="rId19" Type="http://schemas.openxmlformats.org/officeDocument/2006/relationships/tags" Target="../tags/tag10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tags" Target="../tags/tag13.xml"/><Relationship Id="rId27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26" Type="http://schemas.openxmlformats.org/officeDocument/2006/relationships/oleObject" Target="../embeddings/oleObject4.bin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36.xml"/><Relationship Id="rId7" Type="http://schemas.openxmlformats.org/officeDocument/2006/relationships/theme" Target="../theme/theme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5" Type="http://schemas.openxmlformats.org/officeDocument/2006/relationships/tags" Target="../tags/tag40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6.xml"/><Relationship Id="rId24" Type="http://schemas.openxmlformats.org/officeDocument/2006/relationships/tags" Target="../tags/tag39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30.xml"/><Relationship Id="rId23" Type="http://schemas.openxmlformats.org/officeDocument/2006/relationships/tags" Target="../tags/tag38.xml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1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433514"/>
            <a:ext cx="1082040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2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 dirty="0"/>
            </a:p>
          </p:txBody>
        </p:sp>
      </p:grpSp>
    </p:spTree>
    <p:extLst>
      <p:ext uri="{BB962C8B-B14F-4D97-AF65-F5344CB8AC3E}">
        <p14:creationId xmlns:p14="http://schemas.microsoft.com/office/powerpoint/2010/main" val="90190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86" r:id="rId8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sz="3200" b="1" baseline="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6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198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7" name="Slide Number"/>
          <p:cNvSpPr txBox="1">
            <a:spLocks/>
          </p:cNvSpPr>
          <p:nvPr userDrawn="1"/>
        </p:nvSpPr>
        <p:spPr bwMode="auto">
          <a:xfrm>
            <a:off x="11811320" y="6627914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="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="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433514"/>
            <a:ext cx="10820400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935527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6" y="9525"/>
            <a:ext cx="66372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6" y="607133"/>
            <a:ext cx="102870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6" y="6422205"/>
            <a:ext cx="11539643" cy="359597"/>
            <a:chOff x="119063" y="6278944"/>
            <a:chExt cx="8618537" cy="35243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4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5250" indent="-95250"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4" y="6480558"/>
              <a:ext cx="825138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85775" indent="-485775" defTabSz="913800">
                <a:tabLst>
                  <a:tab pos="609600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6" y="2350212"/>
            <a:ext cx="5853024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819959" y="304620"/>
            <a:ext cx="703263" cy="996951"/>
            <a:chOff x="4936" y="176"/>
            <a:chExt cx="443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944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9511984" y="304620"/>
            <a:ext cx="1011238" cy="730251"/>
            <a:chOff x="4750" y="176"/>
            <a:chExt cx="637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944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9753502" y="304619"/>
            <a:ext cx="769720" cy="1306516"/>
            <a:chOff x="7875175" y="286625"/>
            <a:chExt cx="769720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04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619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5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  <p:sp>
            <p:nvSpPr>
              <p:cNvPr id="91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944" dirty="0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9638787" y="304619"/>
            <a:ext cx="884435" cy="212366"/>
            <a:chOff x="7856340" y="285750"/>
            <a:chExt cx="884435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856340" y="285750"/>
              <a:ext cx="88443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619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85634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856340" y="498116"/>
              <a:ext cx="88443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Moon" hidden="1"/>
          <p:cNvGrpSpPr/>
          <p:nvPr userDrawn="1">
            <p:custDataLst>
              <p:tags r:id="rId10"/>
            </p:custDataLst>
          </p:nvPr>
        </p:nvGrpSpPr>
        <p:grpSpPr>
          <a:xfrm>
            <a:off x="8515925" y="1214424"/>
            <a:ext cx="254000" cy="254000"/>
            <a:chOff x="762000" y="1270000"/>
            <a:chExt cx="254000" cy="254000"/>
          </a:xfrm>
        </p:grpSpPr>
        <p:sp>
          <p:nvSpPr>
            <p:cNvPr id="106" name="Oval 105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944" dirty="0">
                <a:solidFill>
                  <a:schemeClr val="tx1"/>
                </a:solidFill>
              </a:endParaRPr>
            </a:p>
          </p:txBody>
        </p:sp>
        <p:sp>
          <p:nvSpPr>
            <p:cNvPr id="109" name="Arc 108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 sz="1944" dirty="0"/>
            </a:p>
          </p:txBody>
        </p:sp>
      </p:grpSp>
    </p:spTree>
    <p:extLst>
      <p:ext uri="{BB962C8B-B14F-4D97-AF65-F5344CB8AC3E}">
        <p14:creationId xmlns:p14="http://schemas.microsoft.com/office/powerpoint/2010/main" val="2989330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hdr="0" ftr="0" dt="0"/>
  <p:txStyles>
    <p:titleStyle>
      <a:lvl1pPr algn="l" defTabSz="913800" rtl="0" eaLnBrk="1" fontAlgn="base" hangingPunct="1">
        <a:spcBef>
          <a:spcPct val="0"/>
        </a:spcBef>
        <a:spcAft>
          <a:spcPct val="0"/>
        </a:spcAft>
        <a:tabLst>
          <a:tab pos="275436" algn="l"/>
        </a:tabLst>
        <a:defRPr sz="3200" b="1" baseline="0">
          <a:solidFill>
            <a:schemeClr val="tx2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2pPr>
      <a:lvl3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3pPr>
      <a:lvl4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4pPr>
      <a:lvl5pPr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5pPr>
      <a:lvl6pPr marL="466621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6pPr>
      <a:lvl7pPr marL="933242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7pPr>
      <a:lvl8pPr marL="1399863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8pPr>
      <a:lvl9pPr marL="1866485" algn="l" defTabSz="913800" rtl="0" eaLnBrk="1" fontAlgn="base" hangingPunct="1">
        <a:spcBef>
          <a:spcPct val="0"/>
        </a:spcBef>
        <a:spcAft>
          <a:spcPct val="0"/>
        </a:spcAft>
        <a:defRPr sz="194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2082" indent="-196046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337" indent="-267335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2832" indent="-158781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50033" indent="-128054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259" indent="-132858" algn="l" defTabSz="9138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1pPr>
      <a:lvl2pPr marL="466621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2pPr>
      <a:lvl3pPr marL="933242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3pPr>
      <a:lvl4pPr marL="1399863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4pPr>
      <a:lvl5pPr marL="1866485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5pPr>
      <a:lvl6pPr marL="2333106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6pPr>
      <a:lvl7pPr marL="2799727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7pPr>
      <a:lvl8pPr marL="3266348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8pPr>
      <a:lvl9pPr marL="3732969" algn="l" defTabSz="933242" rtl="0" eaLnBrk="1" latinLnBrk="0" hangingPunct="1">
        <a:defRPr sz="183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36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13" Type="http://schemas.openxmlformats.org/officeDocument/2006/relationships/image" Target="../media/image16.emf"/><Relationship Id="rId18" Type="http://schemas.openxmlformats.org/officeDocument/2006/relationships/image" Target="../media/image21.png"/><Relationship Id="rId3" Type="http://schemas.openxmlformats.org/officeDocument/2006/relationships/image" Target="../media/image6.png"/><Relationship Id="rId21" Type="http://schemas.openxmlformats.org/officeDocument/2006/relationships/image" Target="../media/image24.emf"/><Relationship Id="rId7" Type="http://schemas.openxmlformats.org/officeDocument/2006/relationships/image" Target="../media/image10.png"/><Relationship Id="rId12" Type="http://schemas.openxmlformats.org/officeDocument/2006/relationships/image" Target="../media/image15.emf"/><Relationship Id="rId1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9.png"/><Relationship Id="rId20" Type="http://schemas.openxmlformats.org/officeDocument/2006/relationships/image" Target="../media/image23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emf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10" Type="http://schemas.openxmlformats.org/officeDocument/2006/relationships/image" Target="../media/image13.emf"/><Relationship Id="rId19" Type="http://schemas.openxmlformats.org/officeDocument/2006/relationships/image" Target="../media/image22.png"/><Relationship Id="rId4" Type="http://schemas.openxmlformats.org/officeDocument/2006/relationships/image" Target="../media/image7.png"/><Relationship Id="rId9" Type="http://schemas.openxmlformats.org/officeDocument/2006/relationships/image" Target="../media/image12.emf"/><Relationship Id="rId14" Type="http://schemas.openxmlformats.org/officeDocument/2006/relationships/image" Target="../media/image17.png"/><Relationship Id="rId22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/>
        </p:nvGraphicFramePr>
        <p:xfrm>
          <a:off x="14089" y="-94009"/>
          <a:ext cx="12356434" cy="5872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56434">
                  <a:extLst>
                    <a:ext uri="{9D8B030D-6E8A-4147-A177-3AD203B41FA5}">
                      <a16:colId xmlns:a16="http://schemas.microsoft.com/office/drawing/2014/main" val="2738283588"/>
                    </a:ext>
                  </a:extLst>
                </a:gridCol>
              </a:tblGrid>
              <a:tr h="587299">
                <a:tc>
                  <a:txBody>
                    <a:bodyPr/>
                    <a:lstStyle/>
                    <a:p>
                      <a:r>
                        <a:rPr lang="en-CA" sz="2800" baseline="0" dirty="0">
                          <a:latin typeface="+mj-lt"/>
                        </a:rPr>
                        <a:t>CCC </a:t>
                      </a:r>
                      <a:r>
                        <a:rPr lang="en-CA" sz="2800" b="1" baseline="0" dirty="0">
                          <a:latin typeface="+mj-lt"/>
                        </a:rPr>
                        <a:t>Responsible Business Conduct </a:t>
                      </a:r>
                      <a:r>
                        <a:rPr lang="en-CA" sz="2800" baseline="0" dirty="0">
                          <a:latin typeface="+mj-lt"/>
                        </a:rPr>
                        <a:t>Framework </a:t>
                      </a:r>
                      <a:endParaRPr lang="en-CA" sz="2800" dirty="0">
                        <a:latin typeface="+mj-lt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382030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/>
        </p:nvGraphicFramePr>
        <p:xfrm>
          <a:off x="15873" y="461441"/>
          <a:ext cx="12354650" cy="651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70930">
                  <a:extLst>
                    <a:ext uri="{9D8B030D-6E8A-4147-A177-3AD203B41FA5}">
                      <a16:colId xmlns:a16="http://schemas.microsoft.com/office/drawing/2014/main" val="2732966123"/>
                    </a:ext>
                  </a:extLst>
                </a:gridCol>
                <a:gridCol w="2470930">
                  <a:extLst>
                    <a:ext uri="{9D8B030D-6E8A-4147-A177-3AD203B41FA5}">
                      <a16:colId xmlns:a16="http://schemas.microsoft.com/office/drawing/2014/main" val="1538504755"/>
                    </a:ext>
                  </a:extLst>
                </a:gridCol>
                <a:gridCol w="2470930">
                  <a:extLst>
                    <a:ext uri="{9D8B030D-6E8A-4147-A177-3AD203B41FA5}">
                      <a16:colId xmlns:a16="http://schemas.microsoft.com/office/drawing/2014/main" val="244758728"/>
                    </a:ext>
                  </a:extLst>
                </a:gridCol>
                <a:gridCol w="2470930">
                  <a:extLst>
                    <a:ext uri="{9D8B030D-6E8A-4147-A177-3AD203B41FA5}">
                      <a16:colId xmlns:a16="http://schemas.microsoft.com/office/drawing/2014/main" val="138353531"/>
                    </a:ext>
                  </a:extLst>
                </a:gridCol>
                <a:gridCol w="2470930">
                  <a:extLst>
                    <a:ext uri="{9D8B030D-6E8A-4147-A177-3AD203B41FA5}">
                      <a16:colId xmlns:a16="http://schemas.microsoft.com/office/drawing/2014/main" val="4217619470"/>
                    </a:ext>
                  </a:extLst>
                </a:gridCol>
              </a:tblGrid>
              <a:tr h="577087">
                <a:tc>
                  <a:txBody>
                    <a:bodyPr/>
                    <a:lstStyle/>
                    <a:p>
                      <a:r>
                        <a:rPr lang="en-CA" dirty="0">
                          <a:latin typeface="+mj-lt"/>
                        </a:rPr>
                        <a:t>Governance</a:t>
                      </a:r>
                    </a:p>
                  </a:txBody>
                  <a:tcP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latin typeface="+mj-lt"/>
                        </a:rPr>
                        <a:t>Business Ethics</a:t>
                      </a:r>
                      <a:r>
                        <a:rPr lang="en-CA" baseline="0" dirty="0">
                          <a:latin typeface="+mj-lt"/>
                        </a:rPr>
                        <a:t> </a:t>
                      </a:r>
                      <a:endParaRPr lang="en-CA" dirty="0">
                        <a:latin typeface="+mj-lt"/>
                      </a:endParaRPr>
                    </a:p>
                  </a:txBody>
                  <a:tcPr>
                    <a:solidFill>
                      <a:srgbClr val="00717F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latin typeface="+mj-lt"/>
                        </a:rPr>
                        <a:t>Human Rights </a:t>
                      </a:r>
                    </a:p>
                  </a:txBody>
                  <a:tcP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latin typeface="+mj-lt"/>
                        </a:rPr>
                        <a:t>Environmental Stewardship</a:t>
                      </a:r>
                    </a:p>
                  </a:txBody>
                  <a:tcPr>
                    <a:solidFill>
                      <a:schemeClr val="accent4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CA" dirty="0">
                          <a:latin typeface="+mj-lt"/>
                        </a:rPr>
                        <a:t>Employee Engagement</a:t>
                      </a:r>
                    </a:p>
                  </a:txBody>
                  <a:tcPr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9399957"/>
                  </a:ext>
                </a:extLst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9649446"/>
              </p:ext>
            </p:extLst>
          </p:nvPr>
        </p:nvGraphicFramePr>
        <p:xfrm>
          <a:off x="-2" y="1040008"/>
          <a:ext cx="12370525" cy="87755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66474">
                  <a:extLst>
                    <a:ext uri="{9D8B030D-6E8A-4147-A177-3AD203B41FA5}">
                      <a16:colId xmlns:a16="http://schemas.microsoft.com/office/drawing/2014/main" val="1880259378"/>
                    </a:ext>
                  </a:extLst>
                </a:gridCol>
                <a:gridCol w="2481736">
                  <a:extLst>
                    <a:ext uri="{9D8B030D-6E8A-4147-A177-3AD203B41FA5}">
                      <a16:colId xmlns:a16="http://schemas.microsoft.com/office/drawing/2014/main" val="785946859"/>
                    </a:ext>
                  </a:extLst>
                </a:gridCol>
                <a:gridCol w="2474105">
                  <a:extLst>
                    <a:ext uri="{9D8B030D-6E8A-4147-A177-3AD203B41FA5}">
                      <a16:colId xmlns:a16="http://schemas.microsoft.com/office/drawing/2014/main" val="4263218019"/>
                    </a:ext>
                  </a:extLst>
                </a:gridCol>
                <a:gridCol w="2474105">
                  <a:extLst>
                    <a:ext uri="{9D8B030D-6E8A-4147-A177-3AD203B41FA5}">
                      <a16:colId xmlns:a16="http://schemas.microsoft.com/office/drawing/2014/main" val="44685071"/>
                    </a:ext>
                  </a:extLst>
                </a:gridCol>
                <a:gridCol w="2474105">
                  <a:extLst>
                    <a:ext uri="{9D8B030D-6E8A-4147-A177-3AD203B41FA5}">
                      <a16:colId xmlns:a16="http://schemas.microsoft.com/office/drawing/2014/main" val="1450967224"/>
                    </a:ext>
                  </a:extLst>
                </a:gridCol>
              </a:tblGrid>
              <a:tr h="4471444"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r>
                        <a:rPr lang="en-CA" sz="1400" b="0" dirty="0">
                          <a:solidFill>
                            <a:schemeClr val="tx1"/>
                          </a:solidFill>
                        </a:rPr>
                        <a:t>CCC</a:t>
                      </a:r>
                      <a:r>
                        <a:rPr lang="en-CA" sz="1400" b="0" baseline="0" dirty="0">
                          <a:solidFill>
                            <a:schemeClr val="tx1"/>
                          </a:solidFill>
                        </a:rPr>
                        <a:t> has an independent </a:t>
                      </a:r>
                      <a:r>
                        <a:rPr lang="en-CA" sz="1400" b="1" baseline="0" dirty="0">
                          <a:solidFill>
                            <a:schemeClr val="tx1"/>
                          </a:solidFill>
                        </a:rPr>
                        <a:t>Board of Directors </a:t>
                      </a:r>
                      <a:r>
                        <a:rPr lang="en-CA" sz="1400" b="0" baseline="0" dirty="0">
                          <a:solidFill>
                            <a:schemeClr val="tx1"/>
                          </a:solidFill>
                        </a:rPr>
                        <a:t>that hold quarterly meetings.  CCC is audited by the Auditor General of Canada.</a:t>
                      </a:r>
                    </a:p>
                    <a:p>
                      <a:endParaRPr lang="en-CA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CA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CA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400" b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CCC makes public financial, business and transaction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disclosures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, available on CCC’s website. </a:t>
                      </a:r>
                    </a:p>
                    <a:p>
                      <a:endParaRPr lang="en-CA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sz="1800" b="1" dirty="0">
                        <a:solidFill>
                          <a:schemeClr val="lt1"/>
                        </a:solidFill>
                      </a:endParaRPr>
                    </a:p>
                    <a:p>
                      <a:r>
                        <a:rPr lang="en-CA" sz="1400" b="0" dirty="0">
                          <a:solidFill>
                            <a:schemeClr val="tx1"/>
                          </a:solidFill>
                        </a:rPr>
                        <a:t>CCC’s </a:t>
                      </a:r>
                      <a:r>
                        <a:rPr lang="en-CA" sz="1400" b="1" dirty="0">
                          <a:solidFill>
                            <a:schemeClr val="tx1"/>
                          </a:solidFill>
                        </a:rPr>
                        <a:t>Code of Conduct &amp; Business Ethics</a:t>
                      </a:r>
                      <a:r>
                        <a:rPr lang="en-CA" sz="14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</a:rPr>
                        <a:t>guides our business activities, in particular to operate in a socially responsible manner.</a:t>
                      </a:r>
                    </a:p>
                    <a:p>
                      <a:endParaRPr lang="en-US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endParaRPr lang="en-US" sz="1400" b="0" baseline="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CCC’s Integrity Compliance policies and due diligence aims</a:t>
                      </a:r>
                      <a:r>
                        <a:rPr lang="en-US" sz="1400" b="0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</a:rPr>
                        <a:t>to prevent and detect </a:t>
                      </a:r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bribery</a:t>
                      </a:r>
                    </a:p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and corruption.</a:t>
                      </a:r>
                      <a:endParaRPr lang="en-CA" sz="14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CC’s </a:t>
                      </a:r>
                      <a:r>
                        <a:rPr kumimoji="0" lang="en-CA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uman Rights Policy </a:t>
                      </a:r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tails our commitment to ensuring respect for human rights in our workplace and  throughout our transactions.</a:t>
                      </a:r>
                      <a:endParaRPr kumimoji="0" lang="en-CA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CC operates in a manner consistent with </a:t>
                      </a:r>
                      <a:r>
                        <a:rPr kumimoji="0" lang="en-US" sz="1400" b="1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nited Nations Guiding Principles on Business and Human Rights</a:t>
                      </a:r>
                      <a:r>
                        <a:rPr kumimoji="0" lang="en-US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  <a:p>
                      <a:endParaRPr lang="en-CA" dirty="0"/>
                    </a:p>
                  </a:txBody>
                  <a:tcPr>
                    <a:lnL w="12700" cmpd="sng">
                      <a:noFill/>
                    </a:lnL>
                    <a:lnB w="38100" cmpd="sng">
                      <a:noFill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C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For </a:t>
                      </a:r>
                      <a:r>
                        <a:rPr kumimoji="0" lang="en-CA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nstruction and infrastructure </a:t>
                      </a:r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jects, CCC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plies with the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vironmental standards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scribed in the </a:t>
                      </a:r>
                      <a:r>
                        <a:rPr kumimoji="0" lang="en-US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anadian Environmental Assessment Act (CEAA)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CC encourages exporters to undertake due diligence on the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nvironmental and social impacts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a project and comply with requirements set by international organization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dirty="0"/>
                    </a:p>
                  </a:txBody>
                  <a:tcPr>
                    <a:lnB w="38100" cmpd="sng">
                      <a:noFill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CC has established sound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lth and safety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practices as well as policies for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arning and recognition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CC contributes to the </a:t>
                      </a: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overnment of Canada Workplace Charitable Campaign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hich boasts high levels of employee participation and donations. </a:t>
                      </a:r>
                    </a:p>
                    <a:p>
                      <a:endParaRPr lang="en-CA" dirty="0"/>
                    </a:p>
                  </a:txBody>
                  <a:tcPr>
                    <a:lnB w="38100" cmpd="sng">
                      <a:noFill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71682967"/>
                  </a:ext>
                </a:extLst>
              </a:tr>
              <a:tr h="1416840">
                <a:tc>
                  <a:txBody>
                    <a:bodyPr/>
                    <a:lstStyle/>
                    <a:p>
                      <a:r>
                        <a:rPr lang="en-US" sz="1400" b="1" dirty="0"/>
                        <a:t>Stakeholder engagement </a:t>
                      </a:r>
                      <a:r>
                        <a:rPr lang="en-US" sz="1400" dirty="0"/>
                        <a:t>through annual public meetings and working with the Government of Canada. </a:t>
                      </a:r>
                    </a:p>
                    <a:p>
                      <a:endParaRPr lang="en-CA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CC encourages employees to </a:t>
                      </a:r>
                      <a:r>
                        <a:rPr lang="en-US" sz="1400" b="1" dirty="0"/>
                        <a:t>report serious wrongdoing </a:t>
                      </a:r>
                      <a:r>
                        <a:rPr lang="en-US" sz="1400" dirty="0"/>
                        <a:t>within the workplace in line with the Public Servants Disclosure Act.</a:t>
                      </a:r>
                    </a:p>
                    <a:p>
                      <a:endParaRPr lang="en-CA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400" i="1" dirty="0"/>
                    </a:p>
                    <a:p>
                      <a:r>
                        <a:rPr lang="en-US" sz="1400" i="0" dirty="0"/>
                        <a:t>CCC is committed to working with relevant stakeholders to </a:t>
                      </a:r>
                      <a:r>
                        <a:rPr lang="en-US" sz="1400" b="1" i="0" dirty="0"/>
                        <a:t>identify emerging best practices </a:t>
                      </a:r>
                      <a:r>
                        <a:rPr lang="en-US" sz="1400" i="0" dirty="0"/>
                        <a:t>in this area.</a:t>
                      </a:r>
                    </a:p>
                    <a:p>
                      <a:endParaRPr lang="en-CA" sz="1400" i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CCC ensures </a:t>
                      </a:r>
                      <a:r>
                        <a:rPr lang="en-US" sz="1400" b="1" dirty="0"/>
                        <a:t>sustainable </a:t>
                      </a:r>
                      <a:r>
                        <a:rPr lang="en-US" sz="1400" dirty="0"/>
                        <a:t>renewable and non-renewable resources within its own office environment.</a:t>
                      </a:r>
                      <a:endParaRPr lang="en-CA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CA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ining</a:t>
                      </a:r>
                      <a:r>
                        <a:rPr kumimoji="0" lang="en-C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is provided to CCC employees on </a:t>
                      </a: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ponsible Business Conduct policies and practices, including anti-bribery and corruption and human rights. </a:t>
                      </a:r>
                      <a:endParaRPr kumimoji="0" lang="en-C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kumimoji="0" lang="en-C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0983763"/>
                  </a:ext>
                </a:extLst>
              </a:tr>
              <a:tr h="2719160"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sz="1400" dirty="0"/>
                    </a:p>
                    <a:p>
                      <a:endParaRPr lang="en-CA" sz="1400" dirty="0"/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sz="1400" dirty="0"/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algn="l"/>
                      <a:endParaRPr lang="en-US" sz="1400" b="0" i="0" u="none" strike="noStrike" baseline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CA" dirty="0"/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  <a:p>
                      <a:endParaRPr lang="en-CA" dirty="0"/>
                    </a:p>
                  </a:txBody>
                  <a:tcPr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0535527"/>
                  </a:ext>
                </a:extLst>
              </a:tr>
            </a:tbl>
          </a:graphicData>
        </a:graphic>
      </p:graphicFrame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334" y="1188758"/>
            <a:ext cx="855231" cy="53301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16900" y="1166773"/>
            <a:ext cx="576981" cy="57698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1881" y="1187577"/>
            <a:ext cx="620479" cy="58529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690533" y="1089054"/>
            <a:ext cx="602508" cy="60250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49839" y="1113078"/>
            <a:ext cx="795397" cy="5353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17242" y="1121647"/>
            <a:ext cx="1231144" cy="724533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41883" y="1135896"/>
            <a:ext cx="792131" cy="63873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96770" y="1160857"/>
            <a:ext cx="925744" cy="7054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68576" y="1068654"/>
            <a:ext cx="858938" cy="66733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690533" y="1088252"/>
            <a:ext cx="820763" cy="61013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88764" y="3008013"/>
            <a:ext cx="706238" cy="581533"/>
          </a:xfrm>
          <a:prstGeom prst="rect">
            <a:avLst/>
          </a:prstGeom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982332" y="3008013"/>
            <a:ext cx="1123950" cy="80962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79920" y="4888905"/>
            <a:ext cx="923925" cy="61912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076764" y="4888905"/>
            <a:ext cx="857250" cy="571500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540775" y="4936530"/>
            <a:ext cx="971550" cy="69532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009921" y="5089662"/>
            <a:ext cx="828675" cy="733425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525951" y="4879380"/>
            <a:ext cx="1057275" cy="581025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0509827" y="2604655"/>
            <a:ext cx="1089525" cy="808170"/>
          </a:xfrm>
          <a:prstGeom prst="rect">
            <a:avLst/>
          </a:prstGeom>
        </p:spPr>
      </p:pic>
      <p:pic>
        <p:nvPicPr>
          <p:cNvPr id="34" name="Picture 33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174176" y="3147087"/>
            <a:ext cx="553338" cy="531475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48325" y="3033712"/>
            <a:ext cx="895350" cy="790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4283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pD1HFT4UKSiAKlK6QI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pD1HFT4UKSiAKlK6QI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Etihad Aviation Group_CF_AE0224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7AA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2.xml><?xml version="1.0" encoding="utf-8"?>
<a:theme xmlns:a="http://schemas.openxmlformats.org/drawingml/2006/main" name="1_Etihad Aviation Group_CF_AE0224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7AA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>
            <a:lumMod val="75000"/>
            <a:lumOff val="25000"/>
          </a:schemeClr>
        </a:solidFill>
        <a:ln>
          <a:noFill/>
        </a:ln>
      </a:spPr>
      <a:bodyPr rtlCol="0" anchor="ctr"/>
      <a:lstStyle>
        <a:defPPr algn="ctr">
          <a:defRPr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11820"/>
        </a:dk2>
        <a:lt2>
          <a:srgbClr val="FFFFFF"/>
        </a:lt2>
        <a:accent1>
          <a:srgbClr val="F2C664"/>
        </a:accent1>
        <a:accent2>
          <a:srgbClr val="BE788E"/>
        </a:accent2>
        <a:accent3>
          <a:srgbClr val="8A4258"/>
        </a:accent3>
        <a:accent4>
          <a:srgbClr val="311820"/>
        </a:accent4>
        <a:accent5>
          <a:srgbClr val="E8A811"/>
        </a:accent5>
        <a:accent6>
          <a:srgbClr val="808080"/>
        </a:accent6>
        <a:hlink>
          <a:srgbClr val="8A4258"/>
        </a:hlink>
        <a:folHlink>
          <a:srgbClr val="3118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Etihad Aviation Group_CF_AE0224.potx" id="{D15E7A95-7415-47F1-8C1E-4B089085B7B8}" vid="{92E183D8-0F31-49CF-9C4C-AF572A94EA2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emplateUrl xmlns="http://schemas.microsoft.com/sharepoint/v3" xsi:nil="true"/>
    <xd_ProgID xmlns="http://schemas.microsoft.com/sharepoint/v3" xsi:nil="true"/>
    <PolicyDocID1 xmlns="5E172249-A82E-4DD5-B073-A4E803D8DC16">600</PolicyDocID1>
    <PolicyName1 xmlns="5E172249-A82E-4DD5-B073-A4E803D8DC16">PG-103-EN Responsible Business Conduct Framework</PolicyName1>
    <Description1 xmlns="5E172249-A82E-4DD5-B073-A4E803D8DC16" xsi:nil="true"/>
    <DocumentVersion1 xmlns="5E172249-A82E-4DD5-B073-A4E803D8DC16">New</DocumentVersion1>
    <ApprovedDocID xmlns="5E172249-A82E-4DD5-B073-A4E803D8DC16">750</ApprovedDocID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ListFieldsContentType" ma:contentTypeID="0x010100E83C7F2FBE964EA5B88760D3E63BE91F00C12D756045AC344D933ACEFE209EECE3" ma:contentTypeVersion="" ma:contentTypeDescription="" ma:contentTypeScope="" ma:versionID="39442c8def23ea18dd9f29b88a182473">
  <xsd:schema xmlns:xsd="http://www.w3.org/2001/XMLSchema" xmlns:xs="http://www.w3.org/2001/XMLSchema" xmlns:p="http://schemas.microsoft.com/office/2006/metadata/properties" xmlns:ns1="http://schemas.microsoft.com/sharepoint/v3" xmlns:ns2="5E172249-A82E-4DD5-B073-A4E803D8DC16" xmlns:ns3="5e172249-a82e-4dd5-b073-a4e803d8dc16" targetNamespace="http://schemas.microsoft.com/office/2006/metadata/properties" ma:root="true" ma:fieldsID="ef565492f97e555c08dae0fa959b29a6" ns1:_="" ns2:_="" ns3:_="">
    <xsd:import namespace="http://schemas.microsoft.com/sharepoint/v3"/>
    <xsd:import namespace="5E172249-A82E-4DD5-B073-A4E803D8DC16"/>
    <xsd:import namespace="5e172249-a82e-4dd5-b073-a4e803d8dc16"/>
    <xsd:element name="properties">
      <xsd:complexType>
        <xsd:sequence>
          <xsd:element name="documentManagement">
            <xsd:complexType>
              <xsd:all>
                <xsd:element ref="ns1:TemplateUrl" minOccurs="0"/>
                <xsd:element ref="ns1:xd_ProgID" minOccurs="0"/>
                <xsd:element ref="ns1:xd_Signature" minOccurs="0"/>
                <xsd:element ref="ns2:PolicyDocID1" minOccurs="0"/>
                <xsd:element ref="ns2:ApprovedDocID" minOccurs="0"/>
                <xsd:element ref="ns2:DocumentVersion1" minOccurs="0"/>
                <xsd:element ref="ns2:Description1" minOccurs="0"/>
                <xsd:element ref="ns2:PolicyName1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TemplateUrl" ma:index="1" nillable="true" ma:displayName="Template Link" ma:hidden="true" ma:internalName="TemplateUrl">
      <xsd:simpleType>
        <xsd:restriction base="dms:Text"/>
      </xsd:simpleType>
    </xsd:element>
    <xsd:element name="xd_ProgID" ma:index="2" nillable="true" ma:displayName="HTML File Link" ma:hidden="true" ma:internalName="xd_ProgID">
      <xsd:simpleType>
        <xsd:restriction base="dms:Text"/>
      </xsd:simpleType>
    </xsd:element>
    <xsd:element name="xd_Signature" ma:index="3" nillable="true" ma:displayName="Is Signed" ma:hidden="true" ma:internalName="xd_Signature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172249-A82E-4DD5-B073-A4E803D8DC16" elementFormDefault="qualified">
    <xsd:import namespace="http://schemas.microsoft.com/office/2006/documentManagement/types"/>
    <xsd:import namespace="http://schemas.microsoft.com/office/infopath/2007/PartnerControls"/>
    <xsd:element name="PolicyDocID1" ma:index="6" nillable="true" ma:displayName="PolicyDocID" ma:internalName="PolicyDocID1">
      <xsd:simpleType>
        <xsd:restriction base="dms:Number"/>
      </xsd:simpleType>
    </xsd:element>
    <xsd:element name="ApprovedDocID" ma:index="7" nillable="true" ma:displayName="ApprovedDocID" ma:internalName="ApprovedDocID">
      <xsd:simpleType>
        <xsd:restriction base="dms:Number"/>
      </xsd:simpleType>
    </xsd:element>
    <xsd:element name="DocumentVersion1" ma:index="8" nillable="true" ma:displayName="Document Version" ma:internalName="DocumentVersion1">
      <xsd:simpleType>
        <xsd:restriction base="dms:Text"/>
      </xsd:simpleType>
    </xsd:element>
    <xsd:element name="Description1" ma:index="9" nillable="true" ma:displayName="Description" ma:internalName="Description1">
      <xsd:simpleType>
        <xsd:restriction base="dms:Note">
          <xsd:maxLength value="255"/>
        </xsd:restriction>
      </xsd:simpleType>
    </xsd:element>
    <xsd:element name="PolicyName1" ma:index="10" nillable="true" ma:displayName="Policy Name" ma:internalName="PolicyName1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e172249-a82e-4dd5-b073-a4e803d8dc1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/>
        <xsd:element ref="dc:title" minOccurs="0" maxOccurs="1" ma:index="0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78CC47F-CAAC-4848-ABC1-5C7735A2E586}">
  <ds:schemaRefs>
    <ds:schemaRef ds:uri="E950D5C8-B95F-4FA9-971E-8439863CD52C"/>
    <ds:schemaRef ds:uri="http://www.w3.org/XML/1998/namespace"/>
    <ds:schemaRef ds:uri="e950d5c8-b95f-4fa9-971e-8439863cd52c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a2d6b549-4a58-4d61-940b-654f9ee393dc"/>
    <ds:schemaRef ds:uri="http://schemas.microsoft.com/sharepoint/v3"/>
    <ds:schemaRef ds:uri="http://purl.org/dc/dcmitype/"/>
    <ds:schemaRef ds:uri="5E172249-A82E-4DD5-B073-A4E803D8DC16"/>
  </ds:schemaRefs>
</ds:datastoreItem>
</file>

<file path=customXml/itemProps2.xml><?xml version="1.0" encoding="utf-8"?>
<ds:datastoreItem xmlns:ds="http://schemas.openxmlformats.org/officeDocument/2006/customXml" ds:itemID="{97CA8A98-C723-481F-AE0F-34121F929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E172249-A82E-4DD5-B073-A4E803D8DC16"/>
    <ds:schemaRef ds:uri="5e172249-a82e-4dd5-b073-a4e803d8dc1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60</TotalTime>
  <Words>297</Words>
  <Application>Microsoft Office PowerPoint</Application>
  <PresentationFormat>Widescreen</PresentationFormat>
  <Paragraphs>69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Open Sans</vt:lpstr>
      <vt:lpstr>Titillium</vt:lpstr>
      <vt:lpstr>Etihad Aviation Group_CF_AE0224</vt:lpstr>
      <vt:lpstr>1_Etihad Aviation Group_CF_AE0224</vt:lpstr>
      <vt:lpstr>think-cell Slide</vt:lpstr>
      <vt:lpstr>PowerPoint Presentation</vt:lpstr>
    </vt:vector>
  </TitlesOfParts>
  <Company>Canadian Commercial Corpo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ponsible Business Conduct (RBC) at CCC</dc:title>
  <dc:creator>Kamilia Saad</dc:creator>
  <cp:lastModifiedBy>Georgia Fox</cp:lastModifiedBy>
  <cp:revision>19</cp:revision>
  <dcterms:created xsi:type="dcterms:W3CDTF">2019-05-28T17:15:11Z</dcterms:created>
  <dcterms:modified xsi:type="dcterms:W3CDTF">2024-07-17T14:55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83C7F2FBE964EA5B88760D3E63BE91F00C12D756045AC344D933ACEFE209EECE3</vt:lpwstr>
  </property>
</Properties>
</file>